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0.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1.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2.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3.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4.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5.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6.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37.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38.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39.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40.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41.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42.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43.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44.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45.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46.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47.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48.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49.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50.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51.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notesSlides/notesSlide52.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53.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54.xml" ContentType="application/vnd.openxmlformats-officedocument.presentationml.notesSlide+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55.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58.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59.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60.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3.xml" ContentType="application/vnd.openxmlformats-officedocument.presentationml.tags+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5"/>
  </p:notesMasterIdLst>
  <p:sldIdLst>
    <p:sldId id="268" r:id="rId2"/>
    <p:sldId id="10819" r:id="rId3"/>
    <p:sldId id="403" r:id="rId4"/>
    <p:sldId id="2145706728" r:id="rId5"/>
    <p:sldId id="1565" r:id="rId6"/>
    <p:sldId id="1634" r:id="rId7"/>
    <p:sldId id="1622" r:id="rId8"/>
    <p:sldId id="2145706774" r:id="rId9"/>
    <p:sldId id="1410" r:id="rId10"/>
    <p:sldId id="2145706734" r:id="rId11"/>
    <p:sldId id="2145707262" r:id="rId12"/>
    <p:sldId id="2145706814" r:id="rId13"/>
    <p:sldId id="2145706815" r:id="rId14"/>
    <p:sldId id="1415" r:id="rId15"/>
    <p:sldId id="1416" r:id="rId16"/>
    <p:sldId id="1567" r:id="rId17"/>
    <p:sldId id="1469" r:id="rId18"/>
    <p:sldId id="1470" r:id="rId19"/>
    <p:sldId id="2145706683" r:id="rId20"/>
    <p:sldId id="1566" r:id="rId21"/>
    <p:sldId id="1460" r:id="rId22"/>
    <p:sldId id="1461" r:id="rId23"/>
    <p:sldId id="1462" r:id="rId24"/>
    <p:sldId id="1463" r:id="rId25"/>
    <p:sldId id="1417" r:id="rId26"/>
    <p:sldId id="1418" r:id="rId27"/>
    <p:sldId id="1419" r:id="rId28"/>
    <p:sldId id="1420" r:id="rId29"/>
    <p:sldId id="1421" r:id="rId30"/>
    <p:sldId id="1448" r:id="rId31"/>
    <p:sldId id="1422" r:id="rId32"/>
    <p:sldId id="1423" r:id="rId33"/>
    <p:sldId id="1425" r:id="rId34"/>
    <p:sldId id="1426" r:id="rId35"/>
    <p:sldId id="1427" r:id="rId36"/>
    <p:sldId id="1428" r:id="rId37"/>
    <p:sldId id="1429" r:id="rId38"/>
    <p:sldId id="1430" r:id="rId39"/>
    <p:sldId id="1431" r:id="rId40"/>
    <p:sldId id="1432" r:id="rId41"/>
    <p:sldId id="1433" r:id="rId42"/>
    <p:sldId id="1434" r:id="rId43"/>
    <p:sldId id="1437" r:id="rId44"/>
    <p:sldId id="1436" r:id="rId45"/>
    <p:sldId id="1438" r:id="rId46"/>
    <p:sldId id="1439" r:id="rId47"/>
    <p:sldId id="1440" r:id="rId48"/>
    <p:sldId id="1475" r:id="rId49"/>
    <p:sldId id="1468" r:id="rId50"/>
    <p:sldId id="1476" r:id="rId51"/>
    <p:sldId id="1442" r:id="rId52"/>
    <p:sldId id="1443" r:id="rId53"/>
    <p:sldId id="1444" r:id="rId54"/>
    <p:sldId id="1445" r:id="rId55"/>
    <p:sldId id="1446" r:id="rId56"/>
    <p:sldId id="2145707259" r:id="rId57"/>
    <p:sldId id="2145707260" r:id="rId58"/>
    <p:sldId id="1447" r:id="rId59"/>
    <p:sldId id="2145707250" r:id="rId60"/>
    <p:sldId id="1449" r:id="rId61"/>
    <p:sldId id="1451" r:id="rId62"/>
    <p:sldId id="1477" r:id="rId63"/>
    <p:sldId id="1452" r:id="rId64"/>
    <p:sldId id="1453" r:id="rId65"/>
    <p:sldId id="1478" r:id="rId66"/>
    <p:sldId id="1454" r:id="rId67"/>
    <p:sldId id="1455" r:id="rId68"/>
    <p:sldId id="1456" r:id="rId69"/>
    <p:sldId id="1457" r:id="rId70"/>
    <p:sldId id="1458" r:id="rId71"/>
    <p:sldId id="1479" r:id="rId72"/>
    <p:sldId id="1480" r:id="rId73"/>
    <p:sldId id="1483" r:id="rId74"/>
    <p:sldId id="1531" r:id="rId75"/>
    <p:sldId id="1515" r:id="rId76"/>
    <p:sldId id="1516" r:id="rId77"/>
    <p:sldId id="1520" r:id="rId78"/>
    <p:sldId id="1521" r:id="rId79"/>
    <p:sldId id="1522" r:id="rId80"/>
    <p:sldId id="1529" r:id="rId81"/>
    <p:sldId id="1552" r:id="rId82"/>
    <p:sldId id="2145706528" r:id="rId83"/>
    <p:sldId id="580" r:id="rId8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3F472C-0D74-F9DF-57D0-7E6C97DEC902}" name="Griffin, Rachel" initials="GR" userId="S::Rachel.Griffin@tea.texas.gov::fcae45bf-dcdb-4a43-a8cb-7f247a985ffc" providerId="AD"/>
  <p188:author id="{961DB550-C5A1-E9DF-07BF-04C1E923298B}" name="Cavazos, Esmeralda" initials="CE" userId="S::esmeralda.cavazos@tea.texas.gov::a8123084-e289-4fb0-a260-dfc91aed3333" providerId="AD"/>
  <p188:author id="{1552F3A7-6322-C342-E142-D5D5233B21C8}" name="Rios, Jose" initials="RJ" userId="S::jose.rios@tea.texas.gov::963362a9-df82-4321-9f83-777059f41455" providerId="AD"/>
  <p188:author id="{B1746ABF-DF0F-380D-32FA-93B4B153DA8E}" name="Lawver, Andrew" initials="LA" userId="S::andrew.lawver@tea.texas.gov::e10e2c02-84af-4952-9c88-8214d2812fe4" providerId="AD"/>
  <p188:author id="{FB4ACBE9-5F6B-F08A-A4EA-DBC63D811382}" name="Mayton, Karen" initials="MK" userId="S::karen.mayton@tea.texas.gov::a057eaa2-86dc-4f70-ae24-8b8794da143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C6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FC5210-25D7-4E0C-BD67-44C22EE09731}" v="7033" dt="2023-10-18T19:27:15.1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23" autoAdjust="0"/>
    <p:restoredTop sz="93792" autoAdjust="0"/>
  </p:normalViewPr>
  <p:slideViewPr>
    <p:cSldViewPr snapToGrid="0">
      <p:cViewPr varScale="1">
        <p:scale>
          <a:sx n="62" d="100"/>
          <a:sy n="62" d="100"/>
        </p:scale>
        <p:origin x="828" y="56"/>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microsoft.com/office/2016/11/relationships/changesInfo" Target="changesInfos/changesInfo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heme" Target="theme/theme1.xml"/><Relationship Id="rId9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iffin, Rachel" userId="fcae45bf-dcdb-4a43-a8cb-7f247a985ffc" providerId="ADAL" clId="{4AFC5210-25D7-4E0C-BD67-44C22EE09731}"/>
    <pc:docChg chg="undo custSel addSld delSld modSld sldOrd delMainMaster modShowInfo">
      <pc:chgData name="Griffin, Rachel" userId="fcae45bf-dcdb-4a43-a8cb-7f247a985ffc" providerId="ADAL" clId="{4AFC5210-25D7-4E0C-BD67-44C22EE09731}" dt="2023-10-18T21:44:43.248" v="13339" actId="20577"/>
      <pc:docMkLst>
        <pc:docMk/>
      </pc:docMkLst>
      <pc:sldChg chg="del">
        <pc:chgData name="Griffin, Rachel" userId="fcae45bf-dcdb-4a43-a8cb-7f247a985ffc" providerId="ADAL" clId="{4AFC5210-25D7-4E0C-BD67-44C22EE09731}" dt="2023-10-04T06:08:22.350" v="38" actId="47"/>
        <pc:sldMkLst>
          <pc:docMk/>
          <pc:sldMk cId="3520910046" sldId="256"/>
        </pc:sldMkLst>
      </pc:sldChg>
      <pc:sldChg chg="addSp delSp modSp mod">
        <pc:chgData name="Griffin, Rachel" userId="fcae45bf-dcdb-4a43-a8cb-7f247a985ffc" providerId="ADAL" clId="{4AFC5210-25D7-4E0C-BD67-44C22EE09731}" dt="2023-10-17T22:27:26.490" v="12985" actId="478"/>
        <pc:sldMkLst>
          <pc:docMk/>
          <pc:sldMk cId="3948236667" sldId="268"/>
        </pc:sldMkLst>
        <pc:spChg chg="mod">
          <ac:chgData name="Griffin, Rachel" userId="fcae45bf-dcdb-4a43-a8cb-7f247a985ffc" providerId="ADAL" clId="{4AFC5210-25D7-4E0C-BD67-44C22EE09731}" dt="2023-10-04T06:07:57.674" v="37" actId="20577"/>
          <ac:spMkLst>
            <pc:docMk/>
            <pc:sldMk cId="3948236667" sldId="268"/>
            <ac:spMk id="2" creationId="{E3CF6599-F0D4-264D-BB71-C3C105F6F9F0}"/>
          </ac:spMkLst>
        </pc:spChg>
        <pc:spChg chg="add del mod">
          <ac:chgData name="Griffin, Rachel" userId="fcae45bf-dcdb-4a43-a8cb-7f247a985ffc" providerId="ADAL" clId="{4AFC5210-25D7-4E0C-BD67-44C22EE09731}" dt="2023-10-17T22:27:26.490" v="12985" actId="478"/>
          <ac:spMkLst>
            <pc:docMk/>
            <pc:sldMk cId="3948236667" sldId="268"/>
            <ac:spMk id="3" creationId="{90950A32-846C-3836-B36B-71BF6760272E}"/>
          </ac:spMkLst>
        </pc:spChg>
      </pc:sldChg>
      <pc:sldChg chg="modSp mod delCm modCm">
        <pc:chgData name="Griffin, Rachel" userId="fcae45bf-dcdb-4a43-a8cb-7f247a985ffc" providerId="ADAL" clId="{4AFC5210-25D7-4E0C-BD67-44C22EE09731}" dt="2023-10-17T22:27:44.969" v="12986" actId="962"/>
        <pc:sldMkLst>
          <pc:docMk/>
          <pc:sldMk cId="2836905413" sldId="403"/>
        </pc:sldMkLst>
        <pc:spChg chg="mod">
          <ac:chgData name="Griffin, Rachel" userId="fcae45bf-dcdb-4a43-a8cb-7f247a985ffc" providerId="ADAL" clId="{4AFC5210-25D7-4E0C-BD67-44C22EE09731}" dt="2023-10-04T06:10:25.349" v="44" actId="20577"/>
          <ac:spMkLst>
            <pc:docMk/>
            <pc:sldMk cId="2836905413" sldId="403"/>
            <ac:spMk id="2" creationId="{E28C15AC-FFB4-40BF-8C95-BE27D750FBB8}"/>
          </ac:spMkLst>
        </pc:spChg>
        <pc:spChg chg="mod">
          <ac:chgData name="Griffin, Rachel" userId="fcae45bf-dcdb-4a43-a8cb-7f247a985ffc" providerId="ADAL" clId="{4AFC5210-25D7-4E0C-BD67-44C22EE09731}" dt="2023-10-17T22:27:44.969" v="12986" actId="962"/>
          <ac:spMkLst>
            <pc:docMk/>
            <pc:sldMk cId="2836905413" sldId="403"/>
            <ac:spMk id="8" creationId="{A60B4952-5977-40C1-4753-9F5817A75D53}"/>
          </ac:spMkLst>
        </pc:spChg>
        <pc:graphicFrameChg chg="mod">
          <ac:chgData name="Griffin, Rachel" userId="fcae45bf-dcdb-4a43-a8cb-7f247a985ffc" providerId="ADAL" clId="{4AFC5210-25D7-4E0C-BD67-44C22EE09731}" dt="2023-10-16T16:04:28.260" v="5332" actId="962"/>
          <ac:graphicFrameMkLst>
            <pc:docMk/>
            <pc:sldMk cId="2836905413" sldId="403"/>
            <ac:graphicFrameMk id="3" creationId="{07F4F1D6-EAAB-95E3-64AC-2E70C84D738C}"/>
          </ac:graphicFrameMkLst>
        </pc:graphicFrameChg>
      </pc:sldChg>
      <pc:sldChg chg="del">
        <pc:chgData name="Griffin, Rachel" userId="fcae45bf-dcdb-4a43-a8cb-7f247a985ffc" providerId="ADAL" clId="{4AFC5210-25D7-4E0C-BD67-44C22EE09731}" dt="2023-10-12T14:56:35.138" v="3889" actId="47"/>
        <pc:sldMkLst>
          <pc:docMk/>
          <pc:sldMk cId="3552021254" sldId="409"/>
        </pc:sldMkLst>
      </pc:sldChg>
      <pc:sldChg chg="modSp">
        <pc:chgData name="Griffin, Rachel" userId="fcae45bf-dcdb-4a43-a8cb-7f247a985ffc" providerId="ADAL" clId="{4AFC5210-25D7-4E0C-BD67-44C22EE09731}" dt="2023-10-18T19:27:15.158" v="13301" actId="962"/>
        <pc:sldMkLst>
          <pc:docMk/>
          <pc:sldMk cId="1812651630" sldId="580"/>
        </pc:sldMkLst>
        <pc:spChg chg="mod">
          <ac:chgData name="Griffin, Rachel" userId="fcae45bf-dcdb-4a43-a8cb-7f247a985ffc" providerId="ADAL" clId="{4AFC5210-25D7-4E0C-BD67-44C22EE09731}" dt="2023-10-18T19:27:15.158" v="13301" actId="962"/>
          <ac:spMkLst>
            <pc:docMk/>
            <pc:sldMk cId="1812651630" sldId="580"/>
            <ac:spMk id="4" creationId="{1414D018-DF93-4703-B744-5DAB5F1C97D2}"/>
          </ac:spMkLst>
        </pc:spChg>
        <pc:picChg chg="mod">
          <ac:chgData name="Griffin, Rachel" userId="fcae45bf-dcdb-4a43-a8cb-7f247a985ffc" providerId="ADAL" clId="{4AFC5210-25D7-4E0C-BD67-44C22EE09731}" dt="2023-10-18T19:27:14.463" v="13300" actId="962"/>
          <ac:picMkLst>
            <pc:docMk/>
            <pc:sldMk cId="1812651630" sldId="580"/>
            <ac:picMk id="10" creationId="{5E08B95D-573C-9045-A5BF-6861CCD3EF8E}"/>
          </ac:picMkLst>
        </pc:picChg>
      </pc:sldChg>
      <pc:sldChg chg="modSp add mod delCm">
        <pc:chgData name="Griffin, Rachel" userId="fcae45bf-dcdb-4a43-a8cb-7f247a985ffc" providerId="ADAL" clId="{4AFC5210-25D7-4E0C-BD67-44C22EE09731}" dt="2023-10-17T22:29:53.282" v="13005" actId="962"/>
        <pc:sldMkLst>
          <pc:docMk/>
          <pc:sldMk cId="3048025329" sldId="1410"/>
        </pc:sldMkLst>
        <pc:spChg chg="mod">
          <ac:chgData name="Griffin, Rachel" userId="fcae45bf-dcdb-4a43-a8cb-7f247a985ffc" providerId="ADAL" clId="{4AFC5210-25D7-4E0C-BD67-44C22EE09731}" dt="2023-10-04T06:28:36.772" v="530" actId="5793"/>
          <ac:spMkLst>
            <pc:docMk/>
            <pc:sldMk cId="3048025329" sldId="1410"/>
            <ac:spMk id="4" creationId="{32A80C9C-EF23-474A-A1E2-007B59CEF31B}"/>
          </ac:spMkLst>
        </pc:spChg>
        <pc:spChg chg="mod">
          <ac:chgData name="Griffin, Rachel" userId="fcae45bf-dcdb-4a43-a8cb-7f247a985ffc" providerId="ADAL" clId="{4AFC5210-25D7-4E0C-BD67-44C22EE09731}" dt="2023-10-17T22:29:53.282" v="13005" actId="962"/>
          <ac:spMkLst>
            <pc:docMk/>
            <pc:sldMk cId="3048025329" sldId="1410"/>
            <ac:spMk id="8" creationId="{0F82A58B-E03E-4908-94AF-38D8852E8714}"/>
          </ac:spMkLst>
        </pc:spChg>
        <pc:spChg chg="mod">
          <ac:chgData name="Griffin, Rachel" userId="fcae45bf-dcdb-4a43-a8cb-7f247a985ffc" providerId="ADAL" clId="{4AFC5210-25D7-4E0C-BD67-44C22EE09731}" dt="2023-10-17T22:29:50.107" v="13004"/>
          <ac:spMkLst>
            <pc:docMk/>
            <pc:sldMk cId="3048025329" sldId="1410"/>
            <ac:spMk id="11" creationId="{B3C52DD8-B2CA-4B46-A32C-A9A4453E45EB}"/>
          </ac:spMkLst>
        </pc:spChg>
      </pc:sldChg>
      <pc:sldChg chg="del">
        <pc:chgData name="Griffin, Rachel" userId="fcae45bf-dcdb-4a43-a8cb-7f247a985ffc" providerId="ADAL" clId="{4AFC5210-25D7-4E0C-BD67-44C22EE09731}" dt="2023-10-04T06:05:21.595" v="0" actId="2696"/>
        <pc:sldMkLst>
          <pc:docMk/>
          <pc:sldMk cId="3654876096" sldId="1410"/>
        </pc:sldMkLst>
      </pc:sldChg>
      <pc:sldChg chg="modSp mod">
        <pc:chgData name="Griffin, Rachel" userId="fcae45bf-dcdb-4a43-a8cb-7f247a985ffc" providerId="ADAL" clId="{4AFC5210-25D7-4E0C-BD67-44C22EE09731}" dt="2023-10-17T22:32:37.783" v="13023"/>
        <pc:sldMkLst>
          <pc:docMk/>
          <pc:sldMk cId="4185918748" sldId="1415"/>
        </pc:sldMkLst>
        <pc:spChg chg="mod">
          <ac:chgData name="Griffin, Rachel" userId="fcae45bf-dcdb-4a43-a8cb-7f247a985ffc" providerId="ADAL" clId="{4AFC5210-25D7-4E0C-BD67-44C22EE09731}" dt="2023-10-17T22:32:10.219" v="13021"/>
          <ac:spMkLst>
            <pc:docMk/>
            <pc:sldMk cId="4185918748" sldId="1415"/>
            <ac:spMk id="2" creationId="{5E519003-B2AB-4130-A1B1-B11FC87B6AE4}"/>
          </ac:spMkLst>
        </pc:spChg>
        <pc:spChg chg="mod">
          <ac:chgData name="Griffin, Rachel" userId="fcae45bf-dcdb-4a43-a8cb-7f247a985ffc" providerId="ADAL" clId="{4AFC5210-25D7-4E0C-BD67-44C22EE09731}" dt="2023-10-17T22:32:37.783" v="13023"/>
          <ac:spMkLst>
            <pc:docMk/>
            <pc:sldMk cId="4185918748" sldId="1415"/>
            <ac:spMk id="3" creationId="{E66FF1D4-D00E-43F9-8273-82963FF0303C}"/>
          </ac:spMkLst>
        </pc:spChg>
        <pc:spChg chg="mod">
          <ac:chgData name="Griffin, Rachel" userId="fcae45bf-dcdb-4a43-a8cb-7f247a985ffc" providerId="ADAL" clId="{4AFC5210-25D7-4E0C-BD67-44C22EE09731}" dt="2023-10-17T22:32:33.322" v="13022" actId="962"/>
          <ac:spMkLst>
            <pc:docMk/>
            <pc:sldMk cId="4185918748" sldId="1415"/>
            <ac:spMk id="17" creationId="{22F74978-F3FA-4A57-8150-733672DA90CF}"/>
          </ac:spMkLst>
        </pc:spChg>
        <pc:graphicFrameChg chg="mod">
          <ac:chgData name="Griffin, Rachel" userId="fcae45bf-dcdb-4a43-a8cb-7f247a985ffc" providerId="ADAL" clId="{4AFC5210-25D7-4E0C-BD67-44C22EE09731}" dt="2023-10-17T22:26:27.184" v="12976" actId="12100"/>
          <ac:graphicFrameMkLst>
            <pc:docMk/>
            <pc:sldMk cId="4185918748" sldId="1415"/>
            <ac:graphicFrameMk id="8" creationId="{639FFE26-D6F2-4879-9699-2A3CB312BF43}"/>
          </ac:graphicFrameMkLst>
        </pc:graphicFrameChg>
      </pc:sldChg>
      <pc:sldChg chg="modSp">
        <pc:chgData name="Griffin, Rachel" userId="fcae45bf-dcdb-4a43-a8cb-7f247a985ffc" providerId="ADAL" clId="{4AFC5210-25D7-4E0C-BD67-44C22EE09731}" dt="2023-10-17T22:32:55.984" v="13024" actId="962"/>
        <pc:sldMkLst>
          <pc:docMk/>
          <pc:sldMk cId="167600498" sldId="1416"/>
        </pc:sldMkLst>
        <pc:spChg chg="mod">
          <ac:chgData name="Griffin, Rachel" userId="fcae45bf-dcdb-4a43-a8cb-7f247a985ffc" providerId="ADAL" clId="{4AFC5210-25D7-4E0C-BD67-44C22EE09731}" dt="2023-10-17T22:32:55.984" v="13024" actId="962"/>
          <ac:spMkLst>
            <pc:docMk/>
            <pc:sldMk cId="167600498" sldId="1416"/>
            <ac:spMk id="15" creationId="{5D7CAAA4-0634-4B88-985B-E5141B1701E6}"/>
          </ac:spMkLst>
        </pc:spChg>
        <pc:graphicFrameChg chg="mod">
          <ac:chgData name="Griffin, Rachel" userId="fcae45bf-dcdb-4a43-a8cb-7f247a985ffc" providerId="ADAL" clId="{4AFC5210-25D7-4E0C-BD67-44C22EE09731}" dt="2023-10-16T16:11:04.819" v="6925" actId="962"/>
          <ac:graphicFrameMkLst>
            <pc:docMk/>
            <pc:sldMk cId="167600498" sldId="1416"/>
            <ac:graphicFrameMk id="41" creationId="{C2CE0E56-3D87-45FC-9DEA-1E56E038F6F7}"/>
          </ac:graphicFrameMkLst>
        </pc:graphicFrameChg>
      </pc:sldChg>
      <pc:sldChg chg="delSp modSp mod">
        <pc:chgData name="Griffin, Rachel" userId="fcae45bf-dcdb-4a43-a8cb-7f247a985ffc" providerId="ADAL" clId="{4AFC5210-25D7-4E0C-BD67-44C22EE09731}" dt="2023-10-17T22:45:30.489" v="13055" actId="962"/>
        <pc:sldMkLst>
          <pc:docMk/>
          <pc:sldMk cId="2939148892" sldId="1417"/>
        </pc:sldMkLst>
        <pc:spChg chg="del">
          <ac:chgData name="Griffin, Rachel" userId="fcae45bf-dcdb-4a43-a8cb-7f247a985ffc" providerId="ADAL" clId="{4AFC5210-25D7-4E0C-BD67-44C22EE09731}" dt="2023-10-04T07:14:02.287" v="683" actId="478"/>
          <ac:spMkLst>
            <pc:docMk/>
            <pc:sldMk cId="2939148892" sldId="1417"/>
            <ac:spMk id="4" creationId="{5B16B813-9B3A-53F6-036D-2772CBE695F8}"/>
          </ac:spMkLst>
        </pc:spChg>
        <pc:spChg chg="mod">
          <ac:chgData name="Griffin, Rachel" userId="fcae45bf-dcdb-4a43-a8cb-7f247a985ffc" providerId="ADAL" clId="{4AFC5210-25D7-4E0C-BD67-44C22EE09731}" dt="2023-10-17T22:45:30.489" v="13055" actId="962"/>
          <ac:spMkLst>
            <pc:docMk/>
            <pc:sldMk cId="2939148892" sldId="1417"/>
            <ac:spMk id="17" creationId="{322F8905-E850-407B-8490-B0D23A2019E5}"/>
          </ac:spMkLst>
        </pc:spChg>
        <pc:picChg chg="mod">
          <ac:chgData name="Griffin, Rachel" userId="fcae45bf-dcdb-4a43-a8cb-7f247a985ffc" providerId="ADAL" clId="{4AFC5210-25D7-4E0C-BD67-44C22EE09731}" dt="2023-10-17T22:45:22.380" v="13052" actId="962"/>
          <ac:picMkLst>
            <pc:docMk/>
            <pc:sldMk cId="2939148892" sldId="1417"/>
            <ac:picMk id="7" creationId="{A62392D6-0227-4F5C-ABF7-D6FB69DA1C94}"/>
          </ac:picMkLst>
        </pc:picChg>
        <pc:picChg chg="mod">
          <ac:chgData name="Griffin, Rachel" userId="fcae45bf-dcdb-4a43-a8cb-7f247a985ffc" providerId="ADAL" clId="{4AFC5210-25D7-4E0C-BD67-44C22EE09731}" dt="2023-10-17T22:45:23.538" v="13053" actId="962"/>
          <ac:picMkLst>
            <pc:docMk/>
            <pc:sldMk cId="2939148892" sldId="1417"/>
            <ac:picMk id="9" creationId="{93EA1E6B-D3DC-4EC3-A208-DF33A888514C}"/>
          </ac:picMkLst>
        </pc:picChg>
        <pc:picChg chg="mod">
          <ac:chgData name="Griffin, Rachel" userId="fcae45bf-dcdb-4a43-a8cb-7f247a985ffc" providerId="ADAL" clId="{4AFC5210-25D7-4E0C-BD67-44C22EE09731}" dt="2023-10-17T22:45:24.927" v="13054" actId="962"/>
          <ac:picMkLst>
            <pc:docMk/>
            <pc:sldMk cId="2939148892" sldId="1417"/>
            <ac:picMk id="11" creationId="{5AA8036F-F52B-4DBF-9738-CCA44C79C769}"/>
          </ac:picMkLst>
        </pc:picChg>
      </pc:sldChg>
      <pc:sldChg chg="modSp mod">
        <pc:chgData name="Griffin, Rachel" userId="fcae45bf-dcdb-4a43-a8cb-7f247a985ffc" providerId="ADAL" clId="{4AFC5210-25D7-4E0C-BD67-44C22EE09731}" dt="2023-10-17T22:49:22.824" v="13062" actId="962"/>
        <pc:sldMkLst>
          <pc:docMk/>
          <pc:sldMk cId="983992679" sldId="1418"/>
        </pc:sldMkLst>
        <pc:spChg chg="mod">
          <ac:chgData name="Griffin, Rachel" userId="fcae45bf-dcdb-4a43-a8cb-7f247a985ffc" providerId="ADAL" clId="{4AFC5210-25D7-4E0C-BD67-44C22EE09731}" dt="2023-10-17T22:49:22.824" v="13062" actId="962"/>
          <ac:spMkLst>
            <pc:docMk/>
            <pc:sldMk cId="983992679" sldId="1418"/>
            <ac:spMk id="8" creationId="{82EEFA22-0170-4692-A11B-E7F8D9A3913C}"/>
          </ac:spMkLst>
        </pc:spChg>
        <pc:spChg chg="mod">
          <ac:chgData name="Griffin, Rachel" userId="fcae45bf-dcdb-4a43-a8cb-7f247a985ffc" providerId="ADAL" clId="{4AFC5210-25D7-4E0C-BD67-44C22EE09731}" dt="2023-10-17T22:48:47.087" v="13061"/>
          <ac:spMkLst>
            <pc:docMk/>
            <pc:sldMk cId="983992679" sldId="1418"/>
            <ac:spMk id="19" creationId="{635F5ECA-EFFD-4824-9F9B-EBFA24330CA3}"/>
          </ac:spMkLst>
        </pc:spChg>
        <pc:graphicFrameChg chg="mod">
          <ac:chgData name="Griffin, Rachel" userId="fcae45bf-dcdb-4a43-a8cb-7f247a985ffc" providerId="ADAL" clId="{4AFC5210-25D7-4E0C-BD67-44C22EE09731}" dt="2023-10-17T22:45:46.883" v="13056"/>
          <ac:graphicFrameMkLst>
            <pc:docMk/>
            <pc:sldMk cId="983992679" sldId="1418"/>
            <ac:graphicFrameMk id="10" creationId="{3C92771E-86B9-48F7-91A1-6C66DE31E038}"/>
          </ac:graphicFrameMkLst>
        </pc:graphicFrameChg>
        <pc:picChg chg="mod">
          <ac:chgData name="Griffin, Rachel" userId="fcae45bf-dcdb-4a43-a8cb-7f247a985ffc" providerId="ADAL" clId="{4AFC5210-25D7-4E0C-BD67-44C22EE09731}" dt="2023-10-17T22:48:41.692" v="13057" actId="962"/>
          <ac:picMkLst>
            <pc:docMk/>
            <pc:sldMk cId="983992679" sldId="1418"/>
            <ac:picMk id="12" creationId="{0BCFF393-AAB0-4327-9A6F-FF59D1651567}"/>
          </ac:picMkLst>
        </pc:picChg>
      </pc:sldChg>
      <pc:sldChg chg="modSp">
        <pc:chgData name="Griffin, Rachel" userId="fcae45bf-dcdb-4a43-a8cb-7f247a985ffc" providerId="ADAL" clId="{4AFC5210-25D7-4E0C-BD67-44C22EE09731}" dt="2023-10-17T22:49:40.607" v="13066" actId="962"/>
        <pc:sldMkLst>
          <pc:docMk/>
          <pc:sldMk cId="3534215774" sldId="1419"/>
        </pc:sldMkLst>
        <pc:spChg chg="mod">
          <ac:chgData name="Griffin, Rachel" userId="fcae45bf-dcdb-4a43-a8cb-7f247a985ffc" providerId="ADAL" clId="{4AFC5210-25D7-4E0C-BD67-44C22EE09731}" dt="2023-10-17T22:49:40.607" v="13066" actId="962"/>
          <ac:spMkLst>
            <pc:docMk/>
            <pc:sldMk cId="3534215774" sldId="1419"/>
            <ac:spMk id="9" creationId="{938277D9-C10F-4C51-AB25-24978C506BFE}"/>
          </ac:spMkLst>
        </pc:spChg>
        <pc:spChg chg="mod">
          <ac:chgData name="Griffin, Rachel" userId="fcae45bf-dcdb-4a43-a8cb-7f247a985ffc" providerId="ADAL" clId="{4AFC5210-25D7-4E0C-BD67-44C22EE09731}" dt="2023-10-17T22:49:27.608" v="13063" actId="13244"/>
          <ac:spMkLst>
            <pc:docMk/>
            <pc:sldMk cId="3534215774" sldId="1419"/>
            <ac:spMk id="15" creationId="{CFD3ED5C-CF35-4BA0-BE68-A2B8871F458F}"/>
          </ac:spMkLst>
        </pc:spChg>
        <pc:graphicFrameChg chg="mod">
          <ac:chgData name="Griffin, Rachel" userId="fcae45bf-dcdb-4a43-a8cb-7f247a985ffc" providerId="ADAL" clId="{4AFC5210-25D7-4E0C-BD67-44C22EE09731}" dt="2023-10-17T22:49:33.960" v="13064"/>
          <ac:graphicFrameMkLst>
            <pc:docMk/>
            <pc:sldMk cId="3534215774" sldId="1419"/>
            <ac:graphicFrameMk id="10" creationId="{3C92771E-86B9-48F7-91A1-6C66DE31E038}"/>
          </ac:graphicFrameMkLst>
        </pc:graphicFrameChg>
        <pc:picChg chg="mod">
          <ac:chgData name="Griffin, Rachel" userId="fcae45bf-dcdb-4a43-a8cb-7f247a985ffc" providerId="ADAL" clId="{4AFC5210-25D7-4E0C-BD67-44C22EE09731}" dt="2023-10-17T22:49:39.132" v="13065" actId="962"/>
          <ac:picMkLst>
            <pc:docMk/>
            <pc:sldMk cId="3534215774" sldId="1419"/>
            <ac:picMk id="12" creationId="{0BCFF393-AAB0-4327-9A6F-FF59D1651567}"/>
          </ac:picMkLst>
        </pc:picChg>
      </pc:sldChg>
      <pc:sldChg chg="modSp">
        <pc:chgData name="Griffin, Rachel" userId="fcae45bf-dcdb-4a43-a8cb-7f247a985ffc" providerId="ADAL" clId="{4AFC5210-25D7-4E0C-BD67-44C22EE09731}" dt="2023-10-17T22:50:43.769" v="13068" actId="962"/>
        <pc:sldMkLst>
          <pc:docMk/>
          <pc:sldMk cId="3929501078" sldId="1420"/>
        </pc:sldMkLst>
        <pc:spChg chg="mod">
          <ac:chgData name="Griffin, Rachel" userId="fcae45bf-dcdb-4a43-a8cb-7f247a985ffc" providerId="ADAL" clId="{4AFC5210-25D7-4E0C-BD67-44C22EE09731}" dt="2023-10-17T22:50:43.769" v="13068" actId="962"/>
          <ac:spMkLst>
            <pc:docMk/>
            <pc:sldMk cId="3929501078" sldId="1420"/>
            <ac:spMk id="16" creationId="{9967E48F-6D97-42AA-A2C4-8DB2D6412EA6}"/>
          </ac:spMkLst>
        </pc:spChg>
        <pc:graphicFrameChg chg="mod">
          <ac:chgData name="Griffin, Rachel" userId="fcae45bf-dcdb-4a43-a8cb-7f247a985ffc" providerId="ADAL" clId="{4AFC5210-25D7-4E0C-BD67-44C22EE09731}" dt="2023-10-16T16:14:18.629" v="7903" actId="962"/>
          <ac:graphicFrameMkLst>
            <pc:docMk/>
            <pc:sldMk cId="3929501078" sldId="1420"/>
            <ac:graphicFrameMk id="3" creationId="{BAE44A70-34BA-4523-A98E-1025BB2EBE2B}"/>
          </ac:graphicFrameMkLst>
        </pc:graphicFrameChg>
        <pc:picChg chg="mod">
          <ac:chgData name="Griffin, Rachel" userId="fcae45bf-dcdb-4a43-a8cb-7f247a985ffc" providerId="ADAL" clId="{4AFC5210-25D7-4E0C-BD67-44C22EE09731}" dt="2023-10-17T22:50:23.401" v="13067" actId="962"/>
          <ac:picMkLst>
            <pc:docMk/>
            <pc:sldMk cId="3929501078" sldId="1420"/>
            <ac:picMk id="12" creationId="{0BCFF393-AAB0-4327-9A6F-FF59D1651567}"/>
          </ac:picMkLst>
        </pc:picChg>
      </pc:sldChg>
      <pc:sldChg chg="modSp">
        <pc:chgData name="Griffin, Rachel" userId="fcae45bf-dcdb-4a43-a8cb-7f247a985ffc" providerId="ADAL" clId="{4AFC5210-25D7-4E0C-BD67-44C22EE09731}" dt="2023-10-17T22:51:40.270" v="13070" actId="962"/>
        <pc:sldMkLst>
          <pc:docMk/>
          <pc:sldMk cId="3587870716" sldId="1421"/>
        </pc:sldMkLst>
        <pc:spChg chg="mod">
          <ac:chgData name="Griffin, Rachel" userId="fcae45bf-dcdb-4a43-a8cb-7f247a985ffc" providerId="ADAL" clId="{4AFC5210-25D7-4E0C-BD67-44C22EE09731}" dt="2023-10-17T22:51:40.270" v="13070" actId="962"/>
          <ac:spMkLst>
            <pc:docMk/>
            <pc:sldMk cId="3587870716" sldId="1421"/>
            <ac:spMk id="14" creationId="{A4FADBA9-E120-4524-8613-D62F136D982E}"/>
          </ac:spMkLst>
        </pc:spChg>
        <pc:graphicFrameChg chg="mod">
          <ac:chgData name="Griffin, Rachel" userId="fcae45bf-dcdb-4a43-a8cb-7f247a985ffc" providerId="ADAL" clId="{4AFC5210-25D7-4E0C-BD67-44C22EE09731}" dt="2023-10-16T16:14:47.739" v="8007" actId="962"/>
          <ac:graphicFrameMkLst>
            <pc:docMk/>
            <pc:sldMk cId="3587870716" sldId="1421"/>
            <ac:graphicFrameMk id="3" creationId="{BAE44A70-34BA-4523-A98E-1025BB2EBE2B}"/>
          </ac:graphicFrameMkLst>
        </pc:graphicFrameChg>
        <pc:picChg chg="mod">
          <ac:chgData name="Griffin, Rachel" userId="fcae45bf-dcdb-4a43-a8cb-7f247a985ffc" providerId="ADAL" clId="{4AFC5210-25D7-4E0C-BD67-44C22EE09731}" dt="2023-10-17T22:51:33.340" v="13069" actId="962"/>
          <ac:picMkLst>
            <pc:docMk/>
            <pc:sldMk cId="3587870716" sldId="1421"/>
            <ac:picMk id="12" creationId="{0BCFF393-AAB0-4327-9A6F-FF59D1651567}"/>
          </ac:picMkLst>
        </pc:picChg>
      </pc:sldChg>
      <pc:sldChg chg="modSp mod delCm">
        <pc:chgData name="Griffin, Rachel" userId="fcae45bf-dcdb-4a43-a8cb-7f247a985ffc" providerId="ADAL" clId="{4AFC5210-25D7-4E0C-BD67-44C22EE09731}" dt="2023-10-17T22:54:43.687" v="13074" actId="962"/>
        <pc:sldMkLst>
          <pc:docMk/>
          <pc:sldMk cId="4282245326" sldId="1422"/>
        </pc:sldMkLst>
        <pc:spChg chg="mod">
          <ac:chgData name="Griffin, Rachel" userId="fcae45bf-dcdb-4a43-a8cb-7f247a985ffc" providerId="ADAL" clId="{4AFC5210-25D7-4E0C-BD67-44C22EE09731}" dt="2023-10-17T22:54:43.687" v="13074" actId="962"/>
          <ac:spMkLst>
            <pc:docMk/>
            <pc:sldMk cId="4282245326" sldId="1422"/>
            <ac:spMk id="16" creationId="{CFED3622-43C0-4BFC-85BA-A5BD77AC616C}"/>
          </ac:spMkLst>
        </pc:spChg>
        <pc:graphicFrameChg chg="mod">
          <ac:chgData name="Griffin, Rachel" userId="fcae45bf-dcdb-4a43-a8cb-7f247a985ffc" providerId="ADAL" clId="{4AFC5210-25D7-4E0C-BD67-44C22EE09731}" dt="2023-10-16T18:38:38.503" v="8393" actId="962"/>
          <ac:graphicFrameMkLst>
            <pc:docMk/>
            <pc:sldMk cId="4282245326" sldId="1422"/>
            <ac:graphicFrameMk id="3" creationId="{BAE44A70-34BA-4523-A98E-1025BB2EBE2B}"/>
          </ac:graphicFrameMkLst>
        </pc:graphicFrameChg>
        <pc:picChg chg="mod">
          <ac:chgData name="Griffin, Rachel" userId="fcae45bf-dcdb-4a43-a8cb-7f247a985ffc" providerId="ADAL" clId="{4AFC5210-25D7-4E0C-BD67-44C22EE09731}" dt="2023-10-17T22:54:37.087" v="13073" actId="962"/>
          <ac:picMkLst>
            <pc:docMk/>
            <pc:sldMk cId="4282245326" sldId="1422"/>
            <ac:picMk id="12" creationId="{0BCFF393-AAB0-4327-9A6F-FF59D1651567}"/>
          </ac:picMkLst>
        </pc:picChg>
      </pc:sldChg>
      <pc:sldChg chg="modSp">
        <pc:chgData name="Griffin, Rachel" userId="fcae45bf-dcdb-4a43-a8cb-7f247a985ffc" providerId="ADAL" clId="{4AFC5210-25D7-4E0C-BD67-44C22EE09731}" dt="2023-10-17T22:55:06.503" v="13076" actId="962"/>
        <pc:sldMkLst>
          <pc:docMk/>
          <pc:sldMk cId="104903891" sldId="1423"/>
        </pc:sldMkLst>
        <pc:spChg chg="mod">
          <ac:chgData name="Griffin, Rachel" userId="fcae45bf-dcdb-4a43-a8cb-7f247a985ffc" providerId="ADAL" clId="{4AFC5210-25D7-4E0C-BD67-44C22EE09731}" dt="2023-10-17T22:55:06.503" v="13076" actId="962"/>
          <ac:spMkLst>
            <pc:docMk/>
            <pc:sldMk cId="104903891" sldId="1423"/>
            <ac:spMk id="14" creationId="{40F6DC5A-C19B-447F-96B2-96C900C8121D}"/>
          </ac:spMkLst>
        </pc:spChg>
        <pc:graphicFrameChg chg="mod">
          <ac:chgData name="Griffin, Rachel" userId="fcae45bf-dcdb-4a43-a8cb-7f247a985ffc" providerId="ADAL" clId="{4AFC5210-25D7-4E0C-BD67-44C22EE09731}" dt="2023-10-16T18:38:58.174" v="8505" actId="962"/>
          <ac:graphicFrameMkLst>
            <pc:docMk/>
            <pc:sldMk cId="104903891" sldId="1423"/>
            <ac:graphicFrameMk id="3" creationId="{BAE44A70-34BA-4523-A98E-1025BB2EBE2B}"/>
          </ac:graphicFrameMkLst>
        </pc:graphicFrameChg>
        <pc:picChg chg="mod">
          <ac:chgData name="Griffin, Rachel" userId="fcae45bf-dcdb-4a43-a8cb-7f247a985ffc" providerId="ADAL" clId="{4AFC5210-25D7-4E0C-BD67-44C22EE09731}" dt="2023-10-17T22:55:03.133" v="13075" actId="962"/>
          <ac:picMkLst>
            <pc:docMk/>
            <pc:sldMk cId="104903891" sldId="1423"/>
            <ac:picMk id="12" creationId="{0BCFF393-AAB0-4327-9A6F-FF59D1651567}"/>
          </ac:picMkLst>
        </pc:picChg>
      </pc:sldChg>
      <pc:sldChg chg="modSp mod delCm">
        <pc:chgData name="Griffin, Rachel" userId="fcae45bf-dcdb-4a43-a8cb-7f247a985ffc" providerId="ADAL" clId="{4AFC5210-25D7-4E0C-BD67-44C22EE09731}" dt="2023-10-17T22:57:04.190" v="13078" actId="962"/>
        <pc:sldMkLst>
          <pc:docMk/>
          <pc:sldMk cId="1789713694" sldId="1425"/>
        </pc:sldMkLst>
        <pc:spChg chg="mod">
          <ac:chgData name="Griffin, Rachel" userId="fcae45bf-dcdb-4a43-a8cb-7f247a985ffc" providerId="ADAL" clId="{4AFC5210-25D7-4E0C-BD67-44C22EE09731}" dt="2023-10-16T18:39:20.001" v="8562" actId="962"/>
          <ac:spMkLst>
            <pc:docMk/>
            <pc:sldMk cId="1789713694" sldId="1425"/>
            <ac:spMk id="8" creationId="{128AD06F-0A74-421E-8D1E-987C7A7CBA2A}"/>
          </ac:spMkLst>
        </pc:spChg>
        <pc:spChg chg="mod">
          <ac:chgData name="Griffin, Rachel" userId="fcae45bf-dcdb-4a43-a8cb-7f247a985ffc" providerId="ADAL" clId="{4AFC5210-25D7-4E0C-BD67-44C22EE09731}" dt="2023-10-17T22:57:04.190" v="13078" actId="962"/>
          <ac:spMkLst>
            <pc:docMk/>
            <pc:sldMk cId="1789713694" sldId="1425"/>
            <ac:spMk id="9" creationId="{D3C22628-E9F2-48E0-A19F-DEF0CB32091D}"/>
          </ac:spMkLst>
        </pc:spChg>
        <pc:grpChg chg="mod">
          <ac:chgData name="Griffin, Rachel" userId="fcae45bf-dcdb-4a43-a8cb-7f247a985ffc" providerId="ADAL" clId="{4AFC5210-25D7-4E0C-BD67-44C22EE09731}" dt="2023-10-16T18:39:09.839" v="8561" actId="962"/>
          <ac:grpSpMkLst>
            <pc:docMk/>
            <pc:sldMk cId="1789713694" sldId="1425"/>
            <ac:grpSpMk id="5" creationId="{0E1F30E9-4413-470C-8837-B15B30372F5B}"/>
          </ac:grpSpMkLst>
        </pc:grpChg>
        <pc:picChg chg="mod">
          <ac:chgData name="Griffin, Rachel" userId="fcae45bf-dcdb-4a43-a8cb-7f247a985ffc" providerId="ADAL" clId="{4AFC5210-25D7-4E0C-BD67-44C22EE09731}" dt="2023-10-17T22:55:25.609" v="13077" actId="962"/>
          <ac:picMkLst>
            <pc:docMk/>
            <pc:sldMk cId="1789713694" sldId="1425"/>
            <ac:picMk id="10" creationId="{7DA1DF42-5A03-4C97-A4D0-3422768004BC}"/>
          </ac:picMkLst>
        </pc:picChg>
      </pc:sldChg>
      <pc:sldChg chg="addSp delSp modSp mod">
        <pc:chgData name="Griffin, Rachel" userId="fcae45bf-dcdb-4a43-a8cb-7f247a985ffc" providerId="ADAL" clId="{4AFC5210-25D7-4E0C-BD67-44C22EE09731}" dt="2023-10-17T22:57:35.546" v="13083" actId="962"/>
        <pc:sldMkLst>
          <pc:docMk/>
          <pc:sldMk cId="3632492595" sldId="1426"/>
        </pc:sldMkLst>
        <pc:spChg chg="mod">
          <ac:chgData name="Griffin, Rachel" userId="fcae45bf-dcdb-4a43-a8cb-7f247a985ffc" providerId="ADAL" clId="{4AFC5210-25D7-4E0C-BD67-44C22EE09731}" dt="2023-10-16T19:10:07.363" v="8576" actId="1076"/>
          <ac:spMkLst>
            <pc:docMk/>
            <pc:sldMk cId="3632492595" sldId="1426"/>
            <ac:spMk id="7" creationId="{126613AA-5375-4258-B018-C335B1CF7BDB}"/>
          </ac:spMkLst>
        </pc:spChg>
        <pc:spChg chg="mod">
          <ac:chgData name="Griffin, Rachel" userId="fcae45bf-dcdb-4a43-a8cb-7f247a985ffc" providerId="ADAL" clId="{4AFC5210-25D7-4E0C-BD67-44C22EE09731}" dt="2023-10-16T19:10:16.175" v="8578" actId="962"/>
          <ac:spMkLst>
            <pc:docMk/>
            <pc:sldMk cId="3632492595" sldId="1426"/>
            <ac:spMk id="8" creationId="{128AD06F-0A74-421E-8D1E-987C7A7CBA2A}"/>
          </ac:spMkLst>
        </pc:spChg>
        <pc:spChg chg="mod">
          <ac:chgData name="Griffin, Rachel" userId="fcae45bf-dcdb-4a43-a8cb-7f247a985ffc" providerId="ADAL" clId="{4AFC5210-25D7-4E0C-BD67-44C22EE09731}" dt="2023-10-17T22:57:35.546" v="13083" actId="962"/>
          <ac:spMkLst>
            <pc:docMk/>
            <pc:sldMk cId="3632492595" sldId="1426"/>
            <ac:spMk id="12" creationId="{D4351F2C-1D7C-40F3-A6A0-6D62657E6D27}"/>
          </ac:spMkLst>
        </pc:spChg>
        <pc:grpChg chg="mod">
          <ac:chgData name="Griffin, Rachel" userId="fcae45bf-dcdb-4a43-a8cb-7f247a985ffc" providerId="ADAL" clId="{4AFC5210-25D7-4E0C-BD67-44C22EE09731}" dt="2023-10-17T22:57:32.778" v="13082" actId="962"/>
          <ac:grpSpMkLst>
            <pc:docMk/>
            <pc:sldMk cId="3632492595" sldId="1426"/>
            <ac:grpSpMk id="5" creationId="{0E1F30E9-4413-470C-8837-B15B30372F5B}"/>
          </ac:grpSpMkLst>
        </pc:grpChg>
        <pc:picChg chg="add mod">
          <ac:chgData name="Griffin, Rachel" userId="fcae45bf-dcdb-4a43-a8cb-7f247a985ffc" providerId="ADAL" clId="{4AFC5210-25D7-4E0C-BD67-44C22EE09731}" dt="2023-10-16T19:10:20.806" v="8579" actId="962"/>
          <ac:picMkLst>
            <pc:docMk/>
            <pc:sldMk cId="3632492595" sldId="1426"/>
            <ac:picMk id="9" creationId="{9D735F24-61FC-E7D7-BA2B-7511F3B8FA3D}"/>
          </ac:picMkLst>
        </pc:picChg>
        <pc:picChg chg="mod">
          <ac:chgData name="Griffin, Rachel" userId="fcae45bf-dcdb-4a43-a8cb-7f247a985ffc" providerId="ADAL" clId="{4AFC5210-25D7-4E0C-BD67-44C22EE09731}" dt="2023-10-17T22:57:17.643" v="13079" actId="962"/>
          <ac:picMkLst>
            <pc:docMk/>
            <pc:sldMk cId="3632492595" sldId="1426"/>
            <ac:picMk id="10" creationId="{7DA1DF42-5A03-4C97-A4D0-3422768004BC}"/>
          </ac:picMkLst>
        </pc:picChg>
        <pc:picChg chg="del mod">
          <ac:chgData name="Griffin, Rachel" userId="fcae45bf-dcdb-4a43-a8cb-7f247a985ffc" providerId="ADAL" clId="{4AFC5210-25D7-4E0C-BD67-44C22EE09731}" dt="2023-10-11T17:17:13.816" v="3878" actId="478"/>
          <ac:picMkLst>
            <pc:docMk/>
            <pc:sldMk cId="3632492595" sldId="1426"/>
            <ac:picMk id="505860" creationId="{53BF63DE-F249-45DC-A324-76606F901393}"/>
          </ac:picMkLst>
        </pc:picChg>
      </pc:sldChg>
      <pc:sldChg chg="modSp">
        <pc:chgData name="Griffin, Rachel" userId="fcae45bf-dcdb-4a43-a8cb-7f247a985ffc" providerId="ADAL" clId="{4AFC5210-25D7-4E0C-BD67-44C22EE09731}" dt="2023-10-17T22:57:54.092" v="13086" actId="962"/>
        <pc:sldMkLst>
          <pc:docMk/>
          <pc:sldMk cId="2005553350" sldId="1427"/>
        </pc:sldMkLst>
        <pc:spChg chg="mod">
          <ac:chgData name="Griffin, Rachel" userId="fcae45bf-dcdb-4a43-a8cb-7f247a985ffc" providerId="ADAL" clId="{4AFC5210-25D7-4E0C-BD67-44C22EE09731}" dt="2023-10-17T22:57:54.092" v="13086" actId="962"/>
          <ac:spMkLst>
            <pc:docMk/>
            <pc:sldMk cId="2005553350" sldId="1427"/>
            <ac:spMk id="15" creationId="{0892F808-E6CB-4399-B731-F615FF747D25}"/>
          </ac:spMkLst>
        </pc:spChg>
        <pc:graphicFrameChg chg="mod">
          <ac:chgData name="Griffin, Rachel" userId="fcae45bf-dcdb-4a43-a8cb-7f247a985ffc" providerId="ADAL" clId="{4AFC5210-25D7-4E0C-BD67-44C22EE09731}" dt="2023-10-16T19:10:49.943" v="8839" actId="962"/>
          <ac:graphicFrameMkLst>
            <pc:docMk/>
            <pc:sldMk cId="2005553350" sldId="1427"/>
            <ac:graphicFrameMk id="6" creationId="{BFA91BEA-1134-43A4-B543-CA11E86186CC}"/>
          </ac:graphicFrameMkLst>
        </pc:graphicFrameChg>
        <pc:picChg chg="mod">
          <ac:chgData name="Griffin, Rachel" userId="fcae45bf-dcdb-4a43-a8cb-7f247a985ffc" providerId="ADAL" clId="{4AFC5210-25D7-4E0C-BD67-44C22EE09731}" dt="2023-10-17T22:57:52.605" v="13085" actId="962"/>
          <ac:picMkLst>
            <pc:docMk/>
            <pc:sldMk cId="2005553350" sldId="1427"/>
            <ac:picMk id="3" creationId="{FA81C727-0528-4104-AB3B-44B80E298A50}"/>
          </ac:picMkLst>
        </pc:picChg>
        <pc:picChg chg="mod">
          <ac:chgData name="Griffin, Rachel" userId="fcae45bf-dcdb-4a43-a8cb-7f247a985ffc" providerId="ADAL" clId="{4AFC5210-25D7-4E0C-BD67-44C22EE09731}" dt="2023-10-17T22:57:46.916" v="13084" actId="962"/>
          <ac:picMkLst>
            <pc:docMk/>
            <pc:sldMk cId="2005553350" sldId="1427"/>
            <ac:picMk id="12" creationId="{0BCFF393-AAB0-4327-9A6F-FF59D1651567}"/>
          </ac:picMkLst>
        </pc:picChg>
      </pc:sldChg>
      <pc:sldChg chg="modSp">
        <pc:chgData name="Griffin, Rachel" userId="fcae45bf-dcdb-4a43-a8cb-7f247a985ffc" providerId="ADAL" clId="{4AFC5210-25D7-4E0C-BD67-44C22EE09731}" dt="2023-10-17T22:58:08.466" v="13089" actId="962"/>
        <pc:sldMkLst>
          <pc:docMk/>
          <pc:sldMk cId="3974971975" sldId="1428"/>
        </pc:sldMkLst>
        <pc:spChg chg="mod">
          <ac:chgData name="Griffin, Rachel" userId="fcae45bf-dcdb-4a43-a8cb-7f247a985ffc" providerId="ADAL" clId="{4AFC5210-25D7-4E0C-BD67-44C22EE09731}" dt="2023-10-17T22:58:08.466" v="13089" actId="962"/>
          <ac:spMkLst>
            <pc:docMk/>
            <pc:sldMk cId="3974971975" sldId="1428"/>
            <ac:spMk id="14" creationId="{5711FF02-F9E2-4F66-8CC3-199E387A4C68}"/>
          </ac:spMkLst>
        </pc:spChg>
        <pc:graphicFrameChg chg="mod">
          <ac:chgData name="Griffin, Rachel" userId="fcae45bf-dcdb-4a43-a8cb-7f247a985ffc" providerId="ADAL" clId="{4AFC5210-25D7-4E0C-BD67-44C22EE09731}" dt="2023-10-16T19:11:12.254" v="8971" actId="962"/>
          <ac:graphicFrameMkLst>
            <pc:docMk/>
            <pc:sldMk cId="3974971975" sldId="1428"/>
            <ac:graphicFrameMk id="6" creationId="{BFA91BEA-1134-43A4-B543-CA11E86186CC}"/>
          </ac:graphicFrameMkLst>
        </pc:graphicFrameChg>
        <pc:picChg chg="mod">
          <ac:chgData name="Griffin, Rachel" userId="fcae45bf-dcdb-4a43-a8cb-7f247a985ffc" providerId="ADAL" clId="{4AFC5210-25D7-4E0C-BD67-44C22EE09731}" dt="2023-10-17T22:58:07.526" v="13088" actId="962"/>
          <ac:picMkLst>
            <pc:docMk/>
            <pc:sldMk cId="3974971975" sldId="1428"/>
            <ac:picMk id="5" creationId="{B7379A31-DB20-4939-9E36-BD1F1B03272E}"/>
          </ac:picMkLst>
        </pc:picChg>
        <pc:picChg chg="mod">
          <ac:chgData name="Griffin, Rachel" userId="fcae45bf-dcdb-4a43-a8cb-7f247a985ffc" providerId="ADAL" clId="{4AFC5210-25D7-4E0C-BD67-44C22EE09731}" dt="2023-10-17T22:58:02.403" v="13087" actId="962"/>
          <ac:picMkLst>
            <pc:docMk/>
            <pc:sldMk cId="3974971975" sldId="1428"/>
            <ac:picMk id="12" creationId="{0BCFF393-AAB0-4327-9A6F-FF59D1651567}"/>
          </ac:picMkLst>
        </pc:picChg>
      </pc:sldChg>
      <pc:sldChg chg="modSp delCm">
        <pc:chgData name="Griffin, Rachel" userId="fcae45bf-dcdb-4a43-a8cb-7f247a985ffc" providerId="ADAL" clId="{4AFC5210-25D7-4E0C-BD67-44C22EE09731}" dt="2023-10-18T17:00:44.500" v="13095" actId="962"/>
        <pc:sldMkLst>
          <pc:docMk/>
          <pc:sldMk cId="1157884125" sldId="1429"/>
        </pc:sldMkLst>
        <pc:spChg chg="mod">
          <ac:chgData name="Griffin, Rachel" userId="fcae45bf-dcdb-4a43-a8cb-7f247a985ffc" providerId="ADAL" clId="{4AFC5210-25D7-4E0C-BD67-44C22EE09731}" dt="2023-10-18T17:00:34.678" v="13092" actId="1036"/>
          <ac:spMkLst>
            <pc:docMk/>
            <pc:sldMk cId="1157884125" sldId="1429"/>
            <ac:spMk id="2" creationId="{72F37DFB-2510-48E2-ACF5-75BF46D93E1A}"/>
          </ac:spMkLst>
        </pc:spChg>
        <pc:spChg chg="mod">
          <ac:chgData name="Griffin, Rachel" userId="fcae45bf-dcdb-4a43-a8cb-7f247a985ffc" providerId="ADAL" clId="{4AFC5210-25D7-4E0C-BD67-44C22EE09731}" dt="2023-10-18T17:00:44.500" v="13095" actId="962"/>
          <ac:spMkLst>
            <pc:docMk/>
            <pc:sldMk cId="1157884125" sldId="1429"/>
            <ac:spMk id="15" creationId="{03967CA5-EDC6-467F-92E5-EDDF1907F5CB}"/>
          </ac:spMkLst>
        </pc:spChg>
        <pc:graphicFrameChg chg="mod">
          <ac:chgData name="Griffin, Rachel" userId="fcae45bf-dcdb-4a43-a8cb-7f247a985ffc" providerId="ADAL" clId="{4AFC5210-25D7-4E0C-BD67-44C22EE09731}" dt="2023-10-16T19:11:32.734" v="9141" actId="962"/>
          <ac:graphicFrameMkLst>
            <pc:docMk/>
            <pc:sldMk cId="1157884125" sldId="1429"/>
            <ac:graphicFrameMk id="6" creationId="{BFA91BEA-1134-43A4-B543-CA11E86186CC}"/>
          </ac:graphicFrameMkLst>
        </pc:graphicFrameChg>
        <pc:picChg chg="mod">
          <ac:chgData name="Griffin, Rachel" userId="fcae45bf-dcdb-4a43-a8cb-7f247a985ffc" providerId="ADAL" clId="{4AFC5210-25D7-4E0C-BD67-44C22EE09731}" dt="2023-10-18T17:00:44.015" v="13094" actId="962"/>
          <ac:picMkLst>
            <pc:docMk/>
            <pc:sldMk cId="1157884125" sldId="1429"/>
            <ac:picMk id="4" creationId="{D43D391C-52A2-4BE2-A9EC-72A446DE869F}"/>
          </ac:picMkLst>
        </pc:picChg>
        <pc:picChg chg="mod">
          <ac:chgData name="Griffin, Rachel" userId="fcae45bf-dcdb-4a43-a8cb-7f247a985ffc" providerId="ADAL" clId="{4AFC5210-25D7-4E0C-BD67-44C22EE09731}" dt="2023-10-18T17:00:38.400" v="13093" actId="962"/>
          <ac:picMkLst>
            <pc:docMk/>
            <pc:sldMk cId="1157884125" sldId="1429"/>
            <ac:picMk id="12" creationId="{0BCFF393-AAB0-4327-9A6F-FF59D1651567}"/>
          </ac:picMkLst>
        </pc:picChg>
      </pc:sldChg>
      <pc:sldChg chg="modSp mod delCm">
        <pc:chgData name="Griffin, Rachel" userId="fcae45bf-dcdb-4a43-a8cb-7f247a985ffc" providerId="ADAL" clId="{4AFC5210-25D7-4E0C-BD67-44C22EE09731}" dt="2023-10-18T17:02:18.552" v="13100" actId="962"/>
        <pc:sldMkLst>
          <pc:docMk/>
          <pc:sldMk cId="1827491249" sldId="1430"/>
        </pc:sldMkLst>
        <pc:spChg chg="mod">
          <ac:chgData name="Griffin, Rachel" userId="fcae45bf-dcdb-4a43-a8cb-7f247a985ffc" providerId="ADAL" clId="{4AFC5210-25D7-4E0C-BD67-44C22EE09731}" dt="2023-10-18T17:02:18.552" v="13100" actId="962"/>
          <ac:spMkLst>
            <pc:docMk/>
            <pc:sldMk cId="1827491249" sldId="1430"/>
            <ac:spMk id="15" creationId="{95DD2AC7-AA6B-460A-A36D-F3B09BFC35A7}"/>
          </ac:spMkLst>
        </pc:spChg>
        <pc:graphicFrameChg chg="mod">
          <ac:chgData name="Griffin, Rachel" userId="fcae45bf-dcdb-4a43-a8cb-7f247a985ffc" providerId="ADAL" clId="{4AFC5210-25D7-4E0C-BD67-44C22EE09731}" dt="2023-10-18T17:02:16.530" v="13097" actId="962"/>
          <ac:graphicFrameMkLst>
            <pc:docMk/>
            <pc:sldMk cId="1827491249" sldId="1430"/>
            <ac:graphicFrameMk id="6" creationId="{BFA91BEA-1134-43A4-B543-CA11E86186CC}"/>
          </ac:graphicFrameMkLst>
        </pc:graphicFrameChg>
        <pc:picChg chg="mod">
          <ac:chgData name="Griffin, Rachel" userId="fcae45bf-dcdb-4a43-a8cb-7f247a985ffc" providerId="ADAL" clId="{4AFC5210-25D7-4E0C-BD67-44C22EE09731}" dt="2023-10-18T17:02:18.158" v="13099" actId="962"/>
          <ac:picMkLst>
            <pc:docMk/>
            <pc:sldMk cId="1827491249" sldId="1430"/>
            <ac:picMk id="4" creationId="{0FC49D1E-CA60-4AE3-8066-071EC5955833}"/>
          </ac:picMkLst>
        </pc:picChg>
        <pc:picChg chg="mod">
          <ac:chgData name="Griffin, Rachel" userId="fcae45bf-dcdb-4a43-a8cb-7f247a985ffc" providerId="ADAL" clId="{4AFC5210-25D7-4E0C-BD67-44C22EE09731}" dt="2023-10-18T17:00:58.055" v="13096" actId="962"/>
          <ac:picMkLst>
            <pc:docMk/>
            <pc:sldMk cId="1827491249" sldId="1430"/>
            <ac:picMk id="12" creationId="{0BCFF393-AAB0-4327-9A6F-FF59D1651567}"/>
          </ac:picMkLst>
        </pc:picChg>
        <pc:cxnChg chg="mod">
          <ac:chgData name="Griffin, Rachel" userId="fcae45bf-dcdb-4a43-a8cb-7f247a985ffc" providerId="ADAL" clId="{4AFC5210-25D7-4E0C-BD67-44C22EE09731}" dt="2023-10-16T19:28:15.957" v="9144" actId="962"/>
          <ac:cxnSpMkLst>
            <pc:docMk/>
            <pc:sldMk cId="1827491249" sldId="1430"/>
            <ac:cxnSpMk id="17" creationId="{94A9D9C6-E99D-459B-A8D9-EB7638B975CF}"/>
          </ac:cxnSpMkLst>
        </pc:cxnChg>
      </pc:sldChg>
      <pc:sldChg chg="modSp mod">
        <pc:chgData name="Griffin, Rachel" userId="fcae45bf-dcdb-4a43-a8cb-7f247a985ffc" providerId="ADAL" clId="{4AFC5210-25D7-4E0C-BD67-44C22EE09731}" dt="2023-10-18T17:02:26.922" v="13103" actId="962"/>
        <pc:sldMkLst>
          <pc:docMk/>
          <pc:sldMk cId="1360973415" sldId="1431"/>
        </pc:sldMkLst>
        <pc:spChg chg="mod">
          <ac:chgData name="Griffin, Rachel" userId="fcae45bf-dcdb-4a43-a8cb-7f247a985ffc" providerId="ADAL" clId="{4AFC5210-25D7-4E0C-BD67-44C22EE09731}" dt="2023-10-18T17:02:26.922" v="13103" actId="962"/>
          <ac:spMkLst>
            <pc:docMk/>
            <pc:sldMk cId="1360973415" sldId="1431"/>
            <ac:spMk id="15" creationId="{B4D3CB52-3A2F-4D0D-B987-9C3087056599}"/>
          </ac:spMkLst>
        </pc:spChg>
        <pc:graphicFrameChg chg="mod">
          <ac:chgData name="Griffin, Rachel" userId="fcae45bf-dcdb-4a43-a8cb-7f247a985ffc" providerId="ADAL" clId="{4AFC5210-25D7-4E0C-BD67-44C22EE09731}" dt="2023-10-16T20:45:49.253" v="9435" actId="962"/>
          <ac:graphicFrameMkLst>
            <pc:docMk/>
            <pc:sldMk cId="1360973415" sldId="1431"/>
            <ac:graphicFrameMk id="6" creationId="{BFA91BEA-1134-43A4-B543-CA11E86186CC}"/>
          </ac:graphicFrameMkLst>
        </pc:graphicFrameChg>
        <pc:picChg chg="mod">
          <ac:chgData name="Griffin, Rachel" userId="fcae45bf-dcdb-4a43-a8cb-7f247a985ffc" providerId="ADAL" clId="{4AFC5210-25D7-4E0C-BD67-44C22EE09731}" dt="2023-10-18T17:02:26.417" v="13102" actId="962"/>
          <ac:picMkLst>
            <pc:docMk/>
            <pc:sldMk cId="1360973415" sldId="1431"/>
            <ac:picMk id="4" creationId="{072A7C71-A04D-4C19-A484-5610307FC213}"/>
          </ac:picMkLst>
        </pc:picChg>
        <pc:picChg chg="mod">
          <ac:chgData name="Griffin, Rachel" userId="fcae45bf-dcdb-4a43-a8cb-7f247a985ffc" providerId="ADAL" clId="{4AFC5210-25D7-4E0C-BD67-44C22EE09731}" dt="2023-10-18T17:02:24.238" v="13101" actId="962"/>
          <ac:picMkLst>
            <pc:docMk/>
            <pc:sldMk cId="1360973415" sldId="1431"/>
            <ac:picMk id="12" creationId="{0BCFF393-AAB0-4327-9A6F-FF59D1651567}"/>
          </ac:picMkLst>
        </pc:picChg>
        <pc:cxnChg chg="mod">
          <ac:chgData name="Griffin, Rachel" userId="fcae45bf-dcdb-4a43-a8cb-7f247a985ffc" providerId="ADAL" clId="{4AFC5210-25D7-4E0C-BD67-44C22EE09731}" dt="2023-10-16T20:45:34.094" v="9341" actId="962"/>
          <ac:cxnSpMkLst>
            <pc:docMk/>
            <pc:sldMk cId="1360973415" sldId="1431"/>
            <ac:cxnSpMk id="17" creationId="{94A9D9C6-E99D-459B-A8D9-EB7638B975CF}"/>
          </ac:cxnSpMkLst>
        </pc:cxnChg>
      </pc:sldChg>
      <pc:sldChg chg="modSp mod">
        <pc:chgData name="Griffin, Rachel" userId="fcae45bf-dcdb-4a43-a8cb-7f247a985ffc" providerId="ADAL" clId="{4AFC5210-25D7-4E0C-BD67-44C22EE09731}" dt="2023-10-18T17:02:37.129" v="13106" actId="962"/>
        <pc:sldMkLst>
          <pc:docMk/>
          <pc:sldMk cId="983314143" sldId="1432"/>
        </pc:sldMkLst>
        <pc:spChg chg="mod">
          <ac:chgData name="Griffin, Rachel" userId="fcae45bf-dcdb-4a43-a8cb-7f247a985ffc" providerId="ADAL" clId="{4AFC5210-25D7-4E0C-BD67-44C22EE09731}" dt="2023-10-18T17:02:37.129" v="13106" actId="962"/>
          <ac:spMkLst>
            <pc:docMk/>
            <pc:sldMk cId="983314143" sldId="1432"/>
            <ac:spMk id="23" creationId="{6B7A7D7C-F88D-4BE3-8359-527A3AE04E7F}"/>
          </ac:spMkLst>
        </pc:spChg>
        <pc:graphicFrameChg chg="mod">
          <ac:chgData name="Griffin, Rachel" userId="fcae45bf-dcdb-4a43-a8cb-7f247a985ffc" providerId="ADAL" clId="{4AFC5210-25D7-4E0C-BD67-44C22EE09731}" dt="2023-10-16T20:46:17.293" v="9532" actId="962"/>
          <ac:graphicFrameMkLst>
            <pc:docMk/>
            <pc:sldMk cId="983314143" sldId="1432"/>
            <ac:graphicFrameMk id="6" creationId="{BFA91BEA-1134-43A4-B543-CA11E86186CC}"/>
          </ac:graphicFrameMkLst>
        </pc:graphicFrameChg>
        <pc:picChg chg="mod">
          <ac:chgData name="Griffin, Rachel" userId="fcae45bf-dcdb-4a43-a8cb-7f247a985ffc" providerId="ADAL" clId="{4AFC5210-25D7-4E0C-BD67-44C22EE09731}" dt="2023-10-18T17:02:36.722" v="13105" actId="962"/>
          <ac:picMkLst>
            <pc:docMk/>
            <pc:sldMk cId="983314143" sldId="1432"/>
            <ac:picMk id="5" creationId="{E7BAF855-2542-44C3-9925-102DAAD87367}"/>
          </ac:picMkLst>
        </pc:picChg>
        <pc:picChg chg="mod">
          <ac:chgData name="Griffin, Rachel" userId="fcae45bf-dcdb-4a43-a8cb-7f247a985ffc" providerId="ADAL" clId="{4AFC5210-25D7-4E0C-BD67-44C22EE09731}" dt="2023-10-18T17:02:33.335" v="13104" actId="962"/>
          <ac:picMkLst>
            <pc:docMk/>
            <pc:sldMk cId="983314143" sldId="1432"/>
            <ac:picMk id="12" creationId="{0BCFF393-AAB0-4327-9A6F-FF59D1651567}"/>
          </ac:picMkLst>
        </pc:picChg>
        <pc:cxnChg chg="mod">
          <ac:chgData name="Griffin, Rachel" userId="fcae45bf-dcdb-4a43-a8cb-7f247a985ffc" providerId="ADAL" clId="{4AFC5210-25D7-4E0C-BD67-44C22EE09731}" dt="2023-10-17T15:34:38.751" v="9539" actId="962"/>
          <ac:cxnSpMkLst>
            <pc:docMk/>
            <pc:sldMk cId="983314143" sldId="1432"/>
            <ac:cxnSpMk id="4" creationId="{CA9EEA23-8966-43AC-8C5E-E25F79F7C7F2}"/>
          </ac:cxnSpMkLst>
        </pc:cxnChg>
        <pc:cxnChg chg="mod">
          <ac:chgData name="Griffin, Rachel" userId="fcae45bf-dcdb-4a43-a8cb-7f247a985ffc" providerId="ADAL" clId="{4AFC5210-25D7-4E0C-BD67-44C22EE09731}" dt="2023-10-17T15:34:41.253" v="9540" actId="962"/>
          <ac:cxnSpMkLst>
            <pc:docMk/>
            <pc:sldMk cId="983314143" sldId="1432"/>
            <ac:cxnSpMk id="8" creationId="{903BE882-2D54-4A24-A57E-244D2EF73782}"/>
          </ac:cxnSpMkLst>
        </pc:cxnChg>
        <pc:cxnChg chg="mod">
          <ac:chgData name="Griffin, Rachel" userId="fcae45bf-dcdb-4a43-a8cb-7f247a985ffc" providerId="ADAL" clId="{4AFC5210-25D7-4E0C-BD67-44C22EE09731}" dt="2023-10-17T15:34:43.158" v="9541" actId="962"/>
          <ac:cxnSpMkLst>
            <pc:docMk/>
            <pc:sldMk cId="983314143" sldId="1432"/>
            <ac:cxnSpMk id="9" creationId="{D6E8C7C8-E188-4CB5-9008-F41F5CD0B911}"/>
          </ac:cxnSpMkLst>
        </pc:cxnChg>
        <pc:cxnChg chg="mod">
          <ac:chgData name="Griffin, Rachel" userId="fcae45bf-dcdb-4a43-a8cb-7f247a985ffc" providerId="ADAL" clId="{4AFC5210-25D7-4E0C-BD67-44C22EE09731}" dt="2023-10-17T15:34:44.774" v="9542" actId="962"/>
          <ac:cxnSpMkLst>
            <pc:docMk/>
            <pc:sldMk cId="983314143" sldId="1432"/>
            <ac:cxnSpMk id="10" creationId="{E55257EC-6B7B-4EA9-9649-85C30759066E}"/>
          </ac:cxnSpMkLst>
        </pc:cxnChg>
        <pc:cxnChg chg="mod">
          <ac:chgData name="Griffin, Rachel" userId="fcae45bf-dcdb-4a43-a8cb-7f247a985ffc" providerId="ADAL" clId="{4AFC5210-25D7-4E0C-BD67-44C22EE09731}" dt="2023-10-17T15:34:46.587" v="9543" actId="962"/>
          <ac:cxnSpMkLst>
            <pc:docMk/>
            <pc:sldMk cId="983314143" sldId="1432"/>
            <ac:cxnSpMk id="11" creationId="{84EEDFDD-DA3C-4C93-813B-86175B69DD39}"/>
          </ac:cxnSpMkLst>
        </pc:cxnChg>
        <pc:cxnChg chg="mod">
          <ac:chgData name="Griffin, Rachel" userId="fcae45bf-dcdb-4a43-a8cb-7f247a985ffc" providerId="ADAL" clId="{4AFC5210-25D7-4E0C-BD67-44C22EE09731}" dt="2023-10-16T20:45:55.266" v="9436" actId="962"/>
          <ac:cxnSpMkLst>
            <pc:docMk/>
            <pc:sldMk cId="983314143" sldId="1432"/>
            <ac:cxnSpMk id="17" creationId="{94A9D9C6-E99D-459B-A8D9-EB7638B975CF}"/>
          </ac:cxnSpMkLst>
        </pc:cxnChg>
      </pc:sldChg>
      <pc:sldChg chg="modSp mod">
        <pc:chgData name="Griffin, Rachel" userId="fcae45bf-dcdb-4a43-a8cb-7f247a985ffc" providerId="ADAL" clId="{4AFC5210-25D7-4E0C-BD67-44C22EE09731}" dt="2023-10-18T17:03:19.132" v="13112" actId="962"/>
        <pc:sldMkLst>
          <pc:docMk/>
          <pc:sldMk cId="1602504836" sldId="1433"/>
        </pc:sldMkLst>
        <pc:spChg chg="mod">
          <ac:chgData name="Griffin, Rachel" userId="fcae45bf-dcdb-4a43-a8cb-7f247a985ffc" providerId="ADAL" clId="{4AFC5210-25D7-4E0C-BD67-44C22EE09731}" dt="2023-10-18T17:02:53.916" v="13109" actId="962"/>
          <ac:spMkLst>
            <pc:docMk/>
            <pc:sldMk cId="1602504836" sldId="1433"/>
            <ac:spMk id="15" creationId="{60F07E70-B98B-4FBE-9AFE-6D285BCAB7D4}"/>
          </ac:spMkLst>
        </pc:spChg>
        <pc:graphicFrameChg chg="mod">
          <ac:chgData name="Griffin, Rachel" userId="fcae45bf-dcdb-4a43-a8cb-7f247a985ffc" providerId="ADAL" clId="{4AFC5210-25D7-4E0C-BD67-44C22EE09731}" dt="2023-10-18T17:03:19.132" v="13112" actId="962"/>
          <ac:graphicFrameMkLst>
            <pc:docMk/>
            <pc:sldMk cId="1602504836" sldId="1433"/>
            <ac:graphicFrameMk id="6" creationId="{BFA91BEA-1134-43A4-B543-CA11E86186CC}"/>
          </ac:graphicFrameMkLst>
        </pc:graphicFrameChg>
        <pc:picChg chg="mod">
          <ac:chgData name="Griffin, Rachel" userId="fcae45bf-dcdb-4a43-a8cb-7f247a985ffc" providerId="ADAL" clId="{4AFC5210-25D7-4E0C-BD67-44C22EE09731}" dt="2023-10-18T17:02:49.578" v="13108" actId="962"/>
          <ac:picMkLst>
            <pc:docMk/>
            <pc:sldMk cId="1602504836" sldId="1433"/>
            <ac:picMk id="4" creationId="{DEEB5E00-670C-4012-97A8-1546DED30CF3}"/>
          </ac:picMkLst>
        </pc:picChg>
        <pc:picChg chg="mod">
          <ac:chgData name="Griffin, Rachel" userId="fcae45bf-dcdb-4a43-a8cb-7f247a985ffc" providerId="ADAL" clId="{4AFC5210-25D7-4E0C-BD67-44C22EE09731}" dt="2023-10-18T17:02:47.060" v="13107" actId="962"/>
          <ac:picMkLst>
            <pc:docMk/>
            <pc:sldMk cId="1602504836" sldId="1433"/>
            <ac:picMk id="12" creationId="{0BCFF393-AAB0-4327-9A6F-FF59D1651567}"/>
          </ac:picMkLst>
        </pc:picChg>
        <pc:cxnChg chg="mod">
          <ac:chgData name="Griffin, Rachel" userId="fcae45bf-dcdb-4a43-a8cb-7f247a985ffc" providerId="ADAL" clId="{4AFC5210-25D7-4E0C-BD67-44C22EE09731}" dt="2023-10-17T15:34:48.649" v="9544" actId="962"/>
          <ac:cxnSpMkLst>
            <pc:docMk/>
            <pc:sldMk cId="1602504836" sldId="1433"/>
            <ac:cxnSpMk id="17" creationId="{94A9D9C6-E99D-459B-A8D9-EB7638B975CF}"/>
          </ac:cxnSpMkLst>
        </pc:cxnChg>
      </pc:sldChg>
      <pc:sldChg chg="modSp mod">
        <pc:chgData name="Griffin, Rachel" userId="fcae45bf-dcdb-4a43-a8cb-7f247a985ffc" providerId="ADAL" clId="{4AFC5210-25D7-4E0C-BD67-44C22EE09731}" dt="2023-10-18T17:03:34.081" v="13115" actId="962"/>
        <pc:sldMkLst>
          <pc:docMk/>
          <pc:sldMk cId="18681423" sldId="1434"/>
        </pc:sldMkLst>
        <pc:spChg chg="mod">
          <ac:chgData name="Griffin, Rachel" userId="fcae45bf-dcdb-4a43-a8cb-7f247a985ffc" providerId="ADAL" clId="{4AFC5210-25D7-4E0C-BD67-44C22EE09731}" dt="2023-10-18T17:03:34.081" v="13115" actId="962"/>
          <ac:spMkLst>
            <pc:docMk/>
            <pc:sldMk cId="18681423" sldId="1434"/>
            <ac:spMk id="14" creationId="{52DA53C4-5067-4FFF-BF70-9F94BAD6C553}"/>
          </ac:spMkLst>
        </pc:spChg>
        <pc:graphicFrameChg chg="mod">
          <ac:chgData name="Griffin, Rachel" userId="fcae45bf-dcdb-4a43-a8cb-7f247a985ffc" providerId="ADAL" clId="{4AFC5210-25D7-4E0C-BD67-44C22EE09731}" dt="2023-10-17T15:35:14.192" v="9688" actId="962"/>
          <ac:graphicFrameMkLst>
            <pc:docMk/>
            <pc:sldMk cId="18681423" sldId="1434"/>
            <ac:graphicFrameMk id="6" creationId="{BFA91BEA-1134-43A4-B543-CA11E86186CC}"/>
          </ac:graphicFrameMkLst>
        </pc:graphicFrameChg>
        <pc:picChg chg="mod">
          <ac:chgData name="Griffin, Rachel" userId="fcae45bf-dcdb-4a43-a8cb-7f247a985ffc" providerId="ADAL" clId="{4AFC5210-25D7-4E0C-BD67-44C22EE09731}" dt="2023-10-18T17:03:33.495" v="13114" actId="962"/>
          <ac:picMkLst>
            <pc:docMk/>
            <pc:sldMk cId="18681423" sldId="1434"/>
            <ac:picMk id="4" creationId="{AF1D3B24-6C51-4784-BEBB-573D74095545}"/>
          </ac:picMkLst>
        </pc:picChg>
        <pc:picChg chg="mod">
          <ac:chgData name="Griffin, Rachel" userId="fcae45bf-dcdb-4a43-a8cb-7f247a985ffc" providerId="ADAL" clId="{4AFC5210-25D7-4E0C-BD67-44C22EE09731}" dt="2023-10-18T17:03:29.829" v="13113" actId="962"/>
          <ac:picMkLst>
            <pc:docMk/>
            <pc:sldMk cId="18681423" sldId="1434"/>
            <ac:picMk id="12" creationId="{0BCFF393-AAB0-4327-9A6F-FF59D1651567}"/>
          </ac:picMkLst>
        </pc:picChg>
        <pc:cxnChg chg="mod">
          <ac:chgData name="Griffin, Rachel" userId="fcae45bf-dcdb-4a43-a8cb-7f247a985ffc" providerId="ADAL" clId="{4AFC5210-25D7-4E0C-BD67-44C22EE09731}" dt="2023-10-17T15:34:52.703" v="9546" actId="962"/>
          <ac:cxnSpMkLst>
            <pc:docMk/>
            <pc:sldMk cId="18681423" sldId="1434"/>
            <ac:cxnSpMk id="17" creationId="{94A9D9C6-E99D-459B-A8D9-EB7638B975CF}"/>
          </ac:cxnSpMkLst>
        </pc:cxnChg>
      </pc:sldChg>
      <pc:sldChg chg="modSp mod">
        <pc:chgData name="Griffin, Rachel" userId="fcae45bf-dcdb-4a43-a8cb-7f247a985ffc" providerId="ADAL" clId="{4AFC5210-25D7-4E0C-BD67-44C22EE09731}" dt="2023-10-18T17:07:21.546" v="13129" actId="962"/>
        <pc:sldMkLst>
          <pc:docMk/>
          <pc:sldMk cId="631950793" sldId="1436"/>
        </pc:sldMkLst>
        <pc:spChg chg="mod">
          <ac:chgData name="Griffin, Rachel" userId="fcae45bf-dcdb-4a43-a8cb-7f247a985ffc" providerId="ADAL" clId="{4AFC5210-25D7-4E0C-BD67-44C22EE09731}" dt="2023-10-18T17:06:52.942" v="13126" actId="962"/>
          <ac:spMkLst>
            <pc:docMk/>
            <pc:sldMk cId="631950793" sldId="1436"/>
            <ac:spMk id="15" creationId="{9F24A6CF-787A-436D-830F-3619BFFE29B0}"/>
          </ac:spMkLst>
        </pc:spChg>
        <pc:graphicFrameChg chg="mod">
          <ac:chgData name="Griffin, Rachel" userId="fcae45bf-dcdb-4a43-a8cb-7f247a985ffc" providerId="ADAL" clId="{4AFC5210-25D7-4E0C-BD67-44C22EE09731}" dt="2023-10-18T17:07:21.546" v="13129" actId="962"/>
          <ac:graphicFrameMkLst>
            <pc:docMk/>
            <pc:sldMk cId="631950793" sldId="1436"/>
            <ac:graphicFrameMk id="6" creationId="{BFA91BEA-1134-43A4-B543-CA11E86186CC}"/>
          </ac:graphicFrameMkLst>
        </pc:graphicFrameChg>
        <pc:picChg chg="mod">
          <ac:chgData name="Griffin, Rachel" userId="fcae45bf-dcdb-4a43-a8cb-7f247a985ffc" providerId="ADAL" clId="{4AFC5210-25D7-4E0C-BD67-44C22EE09731}" dt="2023-10-18T17:06:52.244" v="13125" actId="962"/>
          <ac:picMkLst>
            <pc:docMk/>
            <pc:sldMk cId="631950793" sldId="1436"/>
            <ac:picMk id="4" creationId="{BE511E77-EE25-4746-8D3B-D782CBB6E445}"/>
          </ac:picMkLst>
        </pc:picChg>
        <pc:picChg chg="mod">
          <ac:chgData name="Griffin, Rachel" userId="fcae45bf-dcdb-4a43-a8cb-7f247a985ffc" providerId="ADAL" clId="{4AFC5210-25D7-4E0C-BD67-44C22EE09731}" dt="2023-10-18T17:06:48.308" v="13124" actId="962"/>
          <ac:picMkLst>
            <pc:docMk/>
            <pc:sldMk cId="631950793" sldId="1436"/>
            <ac:picMk id="12" creationId="{0BCFF393-AAB0-4327-9A6F-FF59D1651567}"/>
          </ac:picMkLst>
        </pc:picChg>
        <pc:cxnChg chg="mod">
          <ac:chgData name="Griffin, Rachel" userId="fcae45bf-dcdb-4a43-a8cb-7f247a985ffc" providerId="ADAL" clId="{4AFC5210-25D7-4E0C-BD67-44C22EE09731}" dt="2023-10-17T15:36:38.515" v="9853" actId="962"/>
          <ac:cxnSpMkLst>
            <pc:docMk/>
            <pc:sldMk cId="631950793" sldId="1436"/>
            <ac:cxnSpMk id="17" creationId="{94A9D9C6-E99D-459B-A8D9-EB7638B975CF}"/>
          </ac:cxnSpMkLst>
        </pc:cxnChg>
      </pc:sldChg>
      <pc:sldChg chg="modSp mod">
        <pc:chgData name="Griffin, Rachel" userId="fcae45bf-dcdb-4a43-a8cb-7f247a985ffc" providerId="ADAL" clId="{4AFC5210-25D7-4E0C-BD67-44C22EE09731}" dt="2023-10-18T17:06:43.654" v="13123" actId="962"/>
        <pc:sldMkLst>
          <pc:docMk/>
          <pc:sldMk cId="1341579822" sldId="1437"/>
        </pc:sldMkLst>
        <pc:spChg chg="mod">
          <ac:chgData name="Griffin, Rachel" userId="fcae45bf-dcdb-4a43-a8cb-7f247a985ffc" providerId="ADAL" clId="{4AFC5210-25D7-4E0C-BD67-44C22EE09731}" dt="2023-10-18T17:06:37.880" v="13117" actId="962"/>
          <ac:spMkLst>
            <pc:docMk/>
            <pc:sldMk cId="1341579822" sldId="1437"/>
            <ac:spMk id="3" creationId="{8F10366A-F7BE-411B-AD6E-10D624D59BCF}"/>
          </ac:spMkLst>
        </pc:spChg>
        <pc:spChg chg="mod">
          <ac:chgData name="Griffin, Rachel" userId="fcae45bf-dcdb-4a43-a8cb-7f247a985ffc" providerId="ADAL" clId="{4AFC5210-25D7-4E0C-BD67-44C22EE09731}" dt="2023-10-18T17:06:38.339" v="13118" actId="962"/>
          <ac:spMkLst>
            <pc:docMk/>
            <pc:sldMk cId="1341579822" sldId="1437"/>
            <ac:spMk id="4" creationId="{F2BD98F6-B30D-4110-B394-FFC00E150240}"/>
          </ac:spMkLst>
        </pc:spChg>
        <pc:spChg chg="mod">
          <ac:chgData name="Griffin, Rachel" userId="fcae45bf-dcdb-4a43-a8cb-7f247a985ffc" providerId="ADAL" clId="{4AFC5210-25D7-4E0C-BD67-44C22EE09731}" dt="2023-10-18T17:06:38.959" v="13119" actId="962"/>
          <ac:spMkLst>
            <pc:docMk/>
            <pc:sldMk cId="1341579822" sldId="1437"/>
            <ac:spMk id="5" creationId="{A6499B3C-CAFE-449D-8B2C-6EE2485F487A}"/>
          </ac:spMkLst>
        </pc:spChg>
        <pc:spChg chg="mod">
          <ac:chgData name="Griffin, Rachel" userId="fcae45bf-dcdb-4a43-a8cb-7f247a985ffc" providerId="ADAL" clId="{4AFC5210-25D7-4E0C-BD67-44C22EE09731}" dt="2023-10-18T17:06:39.783" v="13120" actId="962"/>
          <ac:spMkLst>
            <pc:docMk/>
            <pc:sldMk cId="1341579822" sldId="1437"/>
            <ac:spMk id="8" creationId="{E270DD24-2013-4CF8-AF46-5CF5A1629598}"/>
          </ac:spMkLst>
        </pc:spChg>
        <pc:spChg chg="mod">
          <ac:chgData name="Griffin, Rachel" userId="fcae45bf-dcdb-4a43-a8cb-7f247a985ffc" providerId="ADAL" clId="{4AFC5210-25D7-4E0C-BD67-44C22EE09731}" dt="2023-10-18T17:06:40.946" v="13121" actId="962"/>
          <ac:spMkLst>
            <pc:docMk/>
            <pc:sldMk cId="1341579822" sldId="1437"/>
            <ac:spMk id="10" creationId="{99C9E000-E089-4C69-A131-8B092FB7FEB4}"/>
          </ac:spMkLst>
        </pc:spChg>
        <pc:spChg chg="mod">
          <ac:chgData name="Griffin, Rachel" userId="fcae45bf-dcdb-4a43-a8cb-7f247a985ffc" providerId="ADAL" clId="{4AFC5210-25D7-4E0C-BD67-44C22EE09731}" dt="2023-10-18T17:06:43.654" v="13123" actId="962"/>
          <ac:spMkLst>
            <pc:docMk/>
            <pc:sldMk cId="1341579822" sldId="1437"/>
            <ac:spMk id="19" creationId="{AF40FAB6-FE29-4048-8377-72257C2A7EB3}"/>
          </ac:spMkLst>
        </pc:spChg>
        <pc:graphicFrameChg chg="mod">
          <ac:chgData name="Griffin, Rachel" userId="fcae45bf-dcdb-4a43-a8cb-7f247a985ffc" providerId="ADAL" clId="{4AFC5210-25D7-4E0C-BD67-44C22EE09731}" dt="2023-10-17T15:36:22.879" v="9847" actId="962"/>
          <ac:graphicFrameMkLst>
            <pc:docMk/>
            <pc:sldMk cId="1341579822" sldId="1437"/>
            <ac:graphicFrameMk id="6" creationId="{BFA91BEA-1134-43A4-B543-CA11E86186CC}"/>
          </ac:graphicFrameMkLst>
        </pc:graphicFrameChg>
        <pc:picChg chg="mod">
          <ac:chgData name="Griffin, Rachel" userId="fcae45bf-dcdb-4a43-a8cb-7f247a985ffc" providerId="ADAL" clId="{4AFC5210-25D7-4E0C-BD67-44C22EE09731}" dt="2023-10-18T17:06:42.630" v="13122" actId="962"/>
          <ac:picMkLst>
            <pc:docMk/>
            <pc:sldMk cId="1341579822" sldId="1437"/>
            <ac:picMk id="11" creationId="{7B0277ED-53B9-4DC6-8C88-874CAC504926}"/>
          </ac:picMkLst>
        </pc:picChg>
        <pc:picChg chg="mod">
          <ac:chgData name="Griffin, Rachel" userId="fcae45bf-dcdb-4a43-a8cb-7f247a985ffc" providerId="ADAL" clId="{4AFC5210-25D7-4E0C-BD67-44C22EE09731}" dt="2023-10-18T17:06:32.461" v="13116" actId="962"/>
          <ac:picMkLst>
            <pc:docMk/>
            <pc:sldMk cId="1341579822" sldId="1437"/>
            <ac:picMk id="12" creationId="{0BCFF393-AAB0-4327-9A6F-FF59D1651567}"/>
          </ac:picMkLst>
        </pc:picChg>
        <pc:cxnChg chg="mod">
          <ac:chgData name="Griffin, Rachel" userId="fcae45bf-dcdb-4a43-a8cb-7f247a985ffc" providerId="ADAL" clId="{4AFC5210-25D7-4E0C-BD67-44C22EE09731}" dt="2023-10-17T15:36:28.943" v="9848" actId="962"/>
          <ac:cxnSpMkLst>
            <pc:docMk/>
            <pc:sldMk cId="1341579822" sldId="1437"/>
            <ac:cxnSpMk id="15" creationId="{CCD310A7-1F09-4E49-B2F6-63B6507D43FA}"/>
          </ac:cxnSpMkLst>
        </pc:cxnChg>
        <pc:cxnChg chg="mod">
          <ac:chgData name="Griffin, Rachel" userId="fcae45bf-dcdb-4a43-a8cb-7f247a985ffc" providerId="ADAL" clId="{4AFC5210-25D7-4E0C-BD67-44C22EE09731}" dt="2023-10-17T15:35:19.438" v="9689" actId="962"/>
          <ac:cxnSpMkLst>
            <pc:docMk/>
            <pc:sldMk cId="1341579822" sldId="1437"/>
            <ac:cxnSpMk id="17" creationId="{94A9D9C6-E99D-459B-A8D9-EB7638B975CF}"/>
          </ac:cxnSpMkLst>
        </pc:cxnChg>
        <pc:cxnChg chg="mod">
          <ac:chgData name="Griffin, Rachel" userId="fcae45bf-dcdb-4a43-a8cb-7f247a985ffc" providerId="ADAL" clId="{4AFC5210-25D7-4E0C-BD67-44C22EE09731}" dt="2023-10-17T15:36:30.502" v="9849" actId="962"/>
          <ac:cxnSpMkLst>
            <pc:docMk/>
            <pc:sldMk cId="1341579822" sldId="1437"/>
            <ac:cxnSpMk id="23" creationId="{3519396F-4F38-42E1-AF3E-5B24C8D29252}"/>
          </ac:cxnSpMkLst>
        </pc:cxnChg>
        <pc:cxnChg chg="mod">
          <ac:chgData name="Griffin, Rachel" userId="fcae45bf-dcdb-4a43-a8cb-7f247a985ffc" providerId="ADAL" clId="{4AFC5210-25D7-4E0C-BD67-44C22EE09731}" dt="2023-10-17T15:36:32.269" v="9850" actId="962"/>
          <ac:cxnSpMkLst>
            <pc:docMk/>
            <pc:sldMk cId="1341579822" sldId="1437"/>
            <ac:cxnSpMk id="24" creationId="{ABA5CDDF-E5BD-41DB-A513-FB303F6BB9CE}"/>
          </ac:cxnSpMkLst>
        </pc:cxnChg>
        <pc:cxnChg chg="mod">
          <ac:chgData name="Griffin, Rachel" userId="fcae45bf-dcdb-4a43-a8cb-7f247a985ffc" providerId="ADAL" clId="{4AFC5210-25D7-4E0C-BD67-44C22EE09731}" dt="2023-10-17T15:36:34.025" v="9851" actId="962"/>
          <ac:cxnSpMkLst>
            <pc:docMk/>
            <pc:sldMk cId="1341579822" sldId="1437"/>
            <ac:cxnSpMk id="25" creationId="{9B3FC7A2-6CCF-4E53-8ED0-A69B2C925501}"/>
          </ac:cxnSpMkLst>
        </pc:cxnChg>
        <pc:cxnChg chg="mod">
          <ac:chgData name="Griffin, Rachel" userId="fcae45bf-dcdb-4a43-a8cb-7f247a985ffc" providerId="ADAL" clId="{4AFC5210-25D7-4E0C-BD67-44C22EE09731}" dt="2023-10-17T15:36:35.888" v="9852" actId="962"/>
          <ac:cxnSpMkLst>
            <pc:docMk/>
            <pc:sldMk cId="1341579822" sldId="1437"/>
            <ac:cxnSpMk id="26" creationId="{6F68DD4E-DF84-4C02-AED6-0B4DDF02DE30}"/>
          </ac:cxnSpMkLst>
        </pc:cxnChg>
      </pc:sldChg>
      <pc:sldChg chg="modSp mod">
        <pc:chgData name="Griffin, Rachel" userId="fcae45bf-dcdb-4a43-a8cb-7f247a985ffc" providerId="ADAL" clId="{4AFC5210-25D7-4E0C-BD67-44C22EE09731}" dt="2023-10-18T17:07:36.138" v="13134" actId="962"/>
        <pc:sldMkLst>
          <pc:docMk/>
          <pc:sldMk cId="449174085" sldId="1438"/>
        </pc:sldMkLst>
        <pc:spChg chg="mod">
          <ac:chgData name="Griffin, Rachel" userId="fcae45bf-dcdb-4a43-a8cb-7f247a985ffc" providerId="ADAL" clId="{4AFC5210-25D7-4E0C-BD67-44C22EE09731}" dt="2023-10-18T17:07:33.873" v="13131" actId="962"/>
          <ac:spMkLst>
            <pc:docMk/>
            <pc:sldMk cId="449174085" sldId="1438"/>
            <ac:spMk id="3" creationId="{DD9752C1-1CCE-4145-9C92-60A0F42DC675}"/>
          </ac:spMkLst>
        </pc:spChg>
        <pc:spChg chg="mod">
          <ac:chgData name="Griffin, Rachel" userId="fcae45bf-dcdb-4a43-a8cb-7f247a985ffc" providerId="ADAL" clId="{4AFC5210-25D7-4E0C-BD67-44C22EE09731}" dt="2023-10-18T17:07:34.582" v="13132" actId="962"/>
          <ac:spMkLst>
            <pc:docMk/>
            <pc:sldMk cId="449174085" sldId="1438"/>
            <ac:spMk id="4" creationId="{20943ACB-A74B-420F-8AC2-A40ADD6CD284}"/>
          </ac:spMkLst>
        </pc:spChg>
        <pc:spChg chg="mod">
          <ac:chgData name="Griffin, Rachel" userId="fcae45bf-dcdb-4a43-a8cb-7f247a985ffc" providerId="ADAL" clId="{4AFC5210-25D7-4E0C-BD67-44C22EE09731}" dt="2023-10-18T17:07:36.138" v="13134" actId="962"/>
          <ac:spMkLst>
            <pc:docMk/>
            <pc:sldMk cId="449174085" sldId="1438"/>
            <ac:spMk id="13" creationId="{AF05F250-0D30-4005-AC0C-4F6F9A23B159}"/>
          </ac:spMkLst>
        </pc:spChg>
        <pc:graphicFrameChg chg="mod">
          <ac:chgData name="Griffin, Rachel" userId="fcae45bf-dcdb-4a43-a8cb-7f247a985ffc" providerId="ADAL" clId="{4AFC5210-25D7-4E0C-BD67-44C22EE09731}" dt="2023-10-17T15:37:11.990" v="10005" actId="962"/>
          <ac:graphicFrameMkLst>
            <pc:docMk/>
            <pc:sldMk cId="449174085" sldId="1438"/>
            <ac:graphicFrameMk id="6" creationId="{BFA91BEA-1134-43A4-B543-CA11E86186CC}"/>
          </ac:graphicFrameMkLst>
        </pc:graphicFrameChg>
        <pc:picChg chg="mod">
          <ac:chgData name="Griffin, Rachel" userId="fcae45bf-dcdb-4a43-a8cb-7f247a985ffc" providerId="ADAL" clId="{4AFC5210-25D7-4E0C-BD67-44C22EE09731}" dt="2023-10-18T17:07:35.159" v="13133" actId="962"/>
          <ac:picMkLst>
            <pc:docMk/>
            <pc:sldMk cId="449174085" sldId="1438"/>
            <ac:picMk id="7" creationId="{CC37DE08-2F87-40CF-BAD9-236F42700BEA}"/>
          </ac:picMkLst>
        </pc:picChg>
        <pc:picChg chg="mod">
          <ac:chgData name="Griffin, Rachel" userId="fcae45bf-dcdb-4a43-a8cb-7f247a985ffc" providerId="ADAL" clId="{4AFC5210-25D7-4E0C-BD67-44C22EE09731}" dt="2023-10-18T17:07:30.192" v="13130" actId="962"/>
          <ac:picMkLst>
            <pc:docMk/>
            <pc:sldMk cId="449174085" sldId="1438"/>
            <ac:picMk id="12" creationId="{0BCFF393-AAB0-4327-9A6F-FF59D1651567}"/>
          </ac:picMkLst>
        </pc:picChg>
        <pc:cxnChg chg="mod">
          <ac:chgData name="Griffin, Rachel" userId="fcae45bf-dcdb-4a43-a8cb-7f247a985ffc" providerId="ADAL" clId="{4AFC5210-25D7-4E0C-BD67-44C22EE09731}" dt="2023-10-17T15:36:48.172" v="9855" actId="962"/>
          <ac:cxnSpMkLst>
            <pc:docMk/>
            <pc:sldMk cId="449174085" sldId="1438"/>
            <ac:cxnSpMk id="17" creationId="{94A9D9C6-E99D-459B-A8D9-EB7638B975CF}"/>
          </ac:cxnSpMkLst>
        </pc:cxnChg>
      </pc:sldChg>
      <pc:sldChg chg="modSp mod">
        <pc:chgData name="Griffin, Rachel" userId="fcae45bf-dcdb-4a43-a8cb-7f247a985ffc" providerId="ADAL" clId="{4AFC5210-25D7-4E0C-BD67-44C22EE09731}" dt="2023-10-18T17:08:01.696" v="13137" actId="962"/>
        <pc:sldMkLst>
          <pc:docMk/>
          <pc:sldMk cId="4210358313" sldId="1439"/>
        </pc:sldMkLst>
        <pc:spChg chg="mod">
          <ac:chgData name="Griffin, Rachel" userId="fcae45bf-dcdb-4a43-a8cb-7f247a985ffc" providerId="ADAL" clId="{4AFC5210-25D7-4E0C-BD67-44C22EE09731}" dt="2023-10-18T17:08:01.160" v="13136" actId="962"/>
          <ac:spMkLst>
            <pc:docMk/>
            <pc:sldMk cId="4210358313" sldId="1439"/>
            <ac:spMk id="15" creationId="{EF3D824D-5C5D-4A2A-878B-3C44DC022B1B}"/>
          </ac:spMkLst>
        </pc:spChg>
        <pc:graphicFrameChg chg="mod">
          <ac:chgData name="Griffin, Rachel" userId="fcae45bf-dcdb-4a43-a8cb-7f247a985ffc" providerId="ADAL" clId="{4AFC5210-25D7-4E0C-BD67-44C22EE09731}" dt="2023-10-17T15:37:47.675" v="10098" actId="962"/>
          <ac:graphicFrameMkLst>
            <pc:docMk/>
            <pc:sldMk cId="4210358313" sldId="1439"/>
            <ac:graphicFrameMk id="6" creationId="{BFA91BEA-1134-43A4-B543-CA11E86186CC}"/>
          </ac:graphicFrameMkLst>
        </pc:graphicFrameChg>
        <pc:picChg chg="mod">
          <ac:chgData name="Griffin, Rachel" userId="fcae45bf-dcdb-4a43-a8cb-7f247a985ffc" providerId="ADAL" clId="{4AFC5210-25D7-4E0C-BD67-44C22EE09731}" dt="2023-10-18T17:08:01.696" v="13137" actId="962"/>
          <ac:picMkLst>
            <pc:docMk/>
            <pc:sldMk cId="4210358313" sldId="1439"/>
            <ac:picMk id="4" creationId="{76894EFB-5F70-46E6-8014-24854F9A09E9}"/>
          </ac:picMkLst>
        </pc:picChg>
        <pc:picChg chg="mod">
          <ac:chgData name="Griffin, Rachel" userId="fcae45bf-dcdb-4a43-a8cb-7f247a985ffc" providerId="ADAL" clId="{4AFC5210-25D7-4E0C-BD67-44C22EE09731}" dt="2023-10-18T17:07:58.864" v="13135" actId="962"/>
          <ac:picMkLst>
            <pc:docMk/>
            <pc:sldMk cId="4210358313" sldId="1439"/>
            <ac:picMk id="12" creationId="{0BCFF393-AAB0-4327-9A6F-FF59D1651567}"/>
          </ac:picMkLst>
        </pc:picChg>
        <pc:cxnChg chg="mod">
          <ac:chgData name="Griffin, Rachel" userId="fcae45bf-dcdb-4a43-a8cb-7f247a985ffc" providerId="ADAL" clId="{4AFC5210-25D7-4E0C-BD67-44C22EE09731}" dt="2023-10-17T15:37:15.972" v="10006" actId="962"/>
          <ac:cxnSpMkLst>
            <pc:docMk/>
            <pc:sldMk cId="4210358313" sldId="1439"/>
            <ac:cxnSpMk id="17" creationId="{94A9D9C6-E99D-459B-A8D9-EB7638B975CF}"/>
          </ac:cxnSpMkLst>
        </pc:cxnChg>
      </pc:sldChg>
      <pc:sldChg chg="modSp mod">
        <pc:chgData name="Griffin, Rachel" userId="fcae45bf-dcdb-4a43-a8cb-7f247a985ffc" providerId="ADAL" clId="{4AFC5210-25D7-4E0C-BD67-44C22EE09731}" dt="2023-10-18T17:08:09.036" v="13140" actId="962"/>
        <pc:sldMkLst>
          <pc:docMk/>
          <pc:sldMk cId="3584368283" sldId="1440"/>
        </pc:sldMkLst>
        <pc:spChg chg="mod">
          <ac:chgData name="Griffin, Rachel" userId="fcae45bf-dcdb-4a43-a8cb-7f247a985ffc" providerId="ADAL" clId="{4AFC5210-25D7-4E0C-BD67-44C22EE09731}" dt="2023-10-18T17:08:09.036" v="13140" actId="962"/>
          <ac:spMkLst>
            <pc:docMk/>
            <pc:sldMk cId="3584368283" sldId="1440"/>
            <ac:spMk id="15" creationId="{69F5BE60-3E86-4160-BCC8-EDE4E39C0155}"/>
          </ac:spMkLst>
        </pc:spChg>
        <pc:graphicFrameChg chg="mod">
          <ac:chgData name="Griffin, Rachel" userId="fcae45bf-dcdb-4a43-a8cb-7f247a985ffc" providerId="ADAL" clId="{4AFC5210-25D7-4E0C-BD67-44C22EE09731}" dt="2023-10-17T15:38:30.603" v="10240" actId="962"/>
          <ac:graphicFrameMkLst>
            <pc:docMk/>
            <pc:sldMk cId="3584368283" sldId="1440"/>
            <ac:graphicFrameMk id="6" creationId="{BFA91BEA-1134-43A4-B543-CA11E86186CC}"/>
          </ac:graphicFrameMkLst>
        </pc:graphicFrameChg>
        <pc:picChg chg="mod">
          <ac:chgData name="Griffin, Rachel" userId="fcae45bf-dcdb-4a43-a8cb-7f247a985ffc" providerId="ADAL" clId="{4AFC5210-25D7-4E0C-BD67-44C22EE09731}" dt="2023-10-18T17:08:08.592" v="13139" actId="962"/>
          <ac:picMkLst>
            <pc:docMk/>
            <pc:sldMk cId="3584368283" sldId="1440"/>
            <ac:picMk id="4" creationId="{0A68F2BD-3E82-4F17-A763-CF695BBEC1E8}"/>
          </ac:picMkLst>
        </pc:picChg>
        <pc:picChg chg="mod">
          <ac:chgData name="Griffin, Rachel" userId="fcae45bf-dcdb-4a43-a8cb-7f247a985ffc" providerId="ADAL" clId="{4AFC5210-25D7-4E0C-BD67-44C22EE09731}" dt="2023-10-18T17:08:06.341" v="13138" actId="962"/>
          <ac:picMkLst>
            <pc:docMk/>
            <pc:sldMk cId="3584368283" sldId="1440"/>
            <ac:picMk id="12" creationId="{0BCFF393-AAB0-4327-9A6F-FF59D1651567}"/>
          </ac:picMkLst>
        </pc:picChg>
        <pc:cxnChg chg="mod">
          <ac:chgData name="Griffin, Rachel" userId="fcae45bf-dcdb-4a43-a8cb-7f247a985ffc" providerId="ADAL" clId="{4AFC5210-25D7-4E0C-BD67-44C22EE09731}" dt="2023-10-17T15:37:19.141" v="10007" actId="962"/>
          <ac:cxnSpMkLst>
            <pc:docMk/>
            <pc:sldMk cId="3584368283" sldId="1440"/>
            <ac:cxnSpMk id="17" creationId="{94A9D9C6-E99D-459B-A8D9-EB7638B975CF}"/>
          </ac:cxnSpMkLst>
        </pc:cxnChg>
      </pc:sldChg>
      <pc:sldChg chg="modSp mod">
        <pc:chgData name="Griffin, Rachel" userId="fcae45bf-dcdb-4a43-a8cb-7f247a985ffc" providerId="ADAL" clId="{4AFC5210-25D7-4E0C-BD67-44C22EE09731}" dt="2023-10-18T17:08:39.717" v="13154" actId="962"/>
        <pc:sldMkLst>
          <pc:docMk/>
          <pc:sldMk cId="335404920" sldId="1442"/>
        </pc:sldMkLst>
        <pc:spChg chg="mod">
          <ac:chgData name="Griffin, Rachel" userId="fcae45bf-dcdb-4a43-a8cb-7f247a985ffc" providerId="ADAL" clId="{4AFC5210-25D7-4E0C-BD67-44C22EE09731}" dt="2023-10-18T17:08:39.717" v="13154" actId="962"/>
          <ac:spMkLst>
            <pc:docMk/>
            <pc:sldMk cId="335404920" sldId="1442"/>
            <ac:spMk id="15" creationId="{355A4512-28F7-49D7-BE22-8676E735B7F2}"/>
          </ac:spMkLst>
        </pc:spChg>
        <pc:graphicFrameChg chg="mod">
          <ac:chgData name="Griffin, Rachel" userId="fcae45bf-dcdb-4a43-a8cb-7f247a985ffc" providerId="ADAL" clId="{4AFC5210-25D7-4E0C-BD67-44C22EE09731}" dt="2023-10-17T15:40:20.093" v="10816" actId="962"/>
          <ac:graphicFrameMkLst>
            <pc:docMk/>
            <pc:sldMk cId="335404920" sldId="1442"/>
            <ac:graphicFrameMk id="6" creationId="{BFA91BEA-1134-43A4-B543-CA11E86186CC}"/>
          </ac:graphicFrameMkLst>
        </pc:graphicFrameChg>
        <pc:picChg chg="mod">
          <ac:chgData name="Griffin, Rachel" userId="fcae45bf-dcdb-4a43-a8cb-7f247a985ffc" providerId="ADAL" clId="{4AFC5210-25D7-4E0C-BD67-44C22EE09731}" dt="2023-10-18T17:08:39.077" v="13153" actId="962"/>
          <ac:picMkLst>
            <pc:docMk/>
            <pc:sldMk cId="335404920" sldId="1442"/>
            <ac:picMk id="4" creationId="{1223BD2E-E3D1-4049-AB98-21FB0EFB9A50}"/>
          </ac:picMkLst>
        </pc:picChg>
        <pc:picChg chg="mod">
          <ac:chgData name="Griffin, Rachel" userId="fcae45bf-dcdb-4a43-a8cb-7f247a985ffc" providerId="ADAL" clId="{4AFC5210-25D7-4E0C-BD67-44C22EE09731}" dt="2023-10-18T17:08:37.489" v="13152" actId="962"/>
          <ac:picMkLst>
            <pc:docMk/>
            <pc:sldMk cId="335404920" sldId="1442"/>
            <ac:picMk id="12" creationId="{0BCFF393-AAB0-4327-9A6F-FF59D1651567}"/>
          </ac:picMkLst>
        </pc:picChg>
        <pc:cxnChg chg="mod">
          <ac:chgData name="Griffin, Rachel" userId="fcae45bf-dcdb-4a43-a8cb-7f247a985ffc" providerId="ADAL" clId="{4AFC5210-25D7-4E0C-BD67-44C22EE09731}" dt="2023-10-17T15:37:29.268" v="10011" actId="962"/>
          <ac:cxnSpMkLst>
            <pc:docMk/>
            <pc:sldMk cId="335404920" sldId="1442"/>
            <ac:cxnSpMk id="17" creationId="{94A9D9C6-E99D-459B-A8D9-EB7638B975CF}"/>
          </ac:cxnSpMkLst>
        </pc:cxnChg>
      </pc:sldChg>
      <pc:sldChg chg="modSp mod">
        <pc:chgData name="Griffin, Rachel" userId="fcae45bf-dcdb-4a43-a8cb-7f247a985ffc" providerId="ADAL" clId="{4AFC5210-25D7-4E0C-BD67-44C22EE09731}" dt="2023-10-18T17:08:45.272" v="13157" actId="962"/>
        <pc:sldMkLst>
          <pc:docMk/>
          <pc:sldMk cId="3408453349" sldId="1443"/>
        </pc:sldMkLst>
        <pc:spChg chg="mod">
          <ac:chgData name="Griffin, Rachel" userId="fcae45bf-dcdb-4a43-a8cb-7f247a985ffc" providerId="ADAL" clId="{4AFC5210-25D7-4E0C-BD67-44C22EE09731}" dt="2023-10-18T17:08:45.272" v="13157" actId="962"/>
          <ac:spMkLst>
            <pc:docMk/>
            <pc:sldMk cId="3408453349" sldId="1443"/>
            <ac:spMk id="15" creationId="{01480BE4-BBB0-4AC5-9BED-212601728C22}"/>
          </ac:spMkLst>
        </pc:spChg>
        <pc:graphicFrameChg chg="mod">
          <ac:chgData name="Griffin, Rachel" userId="fcae45bf-dcdb-4a43-a8cb-7f247a985ffc" providerId="ADAL" clId="{4AFC5210-25D7-4E0C-BD67-44C22EE09731}" dt="2023-10-17T15:40:40.443" v="10964" actId="962"/>
          <ac:graphicFrameMkLst>
            <pc:docMk/>
            <pc:sldMk cId="3408453349" sldId="1443"/>
            <ac:graphicFrameMk id="6" creationId="{BFA91BEA-1134-43A4-B543-CA11E86186CC}"/>
          </ac:graphicFrameMkLst>
        </pc:graphicFrameChg>
        <pc:picChg chg="mod">
          <ac:chgData name="Griffin, Rachel" userId="fcae45bf-dcdb-4a43-a8cb-7f247a985ffc" providerId="ADAL" clId="{4AFC5210-25D7-4E0C-BD67-44C22EE09731}" dt="2023-10-18T17:08:44.665" v="13156" actId="962"/>
          <ac:picMkLst>
            <pc:docMk/>
            <pc:sldMk cId="3408453349" sldId="1443"/>
            <ac:picMk id="4" creationId="{17B88B2C-D1AF-4210-BA06-7CF74BB39AC4}"/>
          </ac:picMkLst>
        </pc:picChg>
        <pc:picChg chg="mod">
          <ac:chgData name="Griffin, Rachel" userId="fcae45bf-dcdb-4a43-a8cb-7f247a985ffc" providerId="ADAL" clId="{4AFC5210-25D7-4E0C-BD67-44C22EE09731}" dt="2023-10-18T17:08:43.592" v="13155" actId="962"/>
          <ac:picMkLst>
            <pc:docMk/>
            <pc:sldMk cId="3408453349" sldId="1443"/>
            <ac:picMk id="12" creationId="{0BCFF393-AAB0-4327-9A6F-FF59D1651567}"/>
          </ac:picMkLst>
        </pc:picChg>
        <pc:cxnChg chg="mod">
          <ac:chgData name="Griffin, Rachel" userId="fcae45bf-dcdb-4a43-a8cb-7f247a985ffc" providerId="ADAL" clId="{4AFC5210-25D7-4E0C-BD67-44C22EE09731}" dt="2023-10-17T15:37:33.693" v="10012" actId="962"/>
          <ac:cxnSpMkLst>
            <pc:docMk/>
            <pc:sldMk cId="3408453349" sldId="1443"/>
            <ac:cxnSpMk id="17" creationId="{94A9D9C6-E99D-459B-A8D9-EB7638B975CF}"/>
          </ac:cxnSpMkLst>
        </pc:cxnChg>
      </pc:sldChg>
      <pc:sldChg chg="modSp mod">
        <pc:chgData name="Griffin, Rachel" userId="fcae45bf-dcdb-4a43-a8cb-7f247a985ffc" providerId="ADAL" clId="{4AFC5210-25D7-4E0C-BD67-44C22EE09731}" dt="2023-10-18T17:09:03.388" v="13162" actId="962"/>
        <pc:sldMkLst>
          <pc:docMk/>
          <pc:sldMk cId="3596049350" sldId="1444"/>
        </pc:sldMkLst>
        <pc:spChg chg="mod">
          <ac:chgData name="Griffin, Rachel" userId="fcae45bf-dcdb-4a43-a8cb-7f247a985ffc" providerId="ADAL" clId="{4AFC5210-25D7-4E0C-BD67-44C22EE09731}" dt="2023-10-18T17:08:49.556" v="13158" actId="962"/>
          <ac:spMkLst>
            <pc:docMk/>
            <pc:sldMk cId="3596049350" sldId="1444"/>
            <ac:spMk id="5" creationId="{F25CED58-C882-49EC-9DD9-51EC89745339}"/>
          </ac:spMkLst>
        </pc:spChg>
        <pc:spChg chg="mod">
          <ac:chgData name="Griffin, Rachel" userId="fcae45bf-dcdb-4a43-a8cb-7f247a985ffc" providerId="ADAL" clId="{4AFC5210-25D7-4E0C-BD67-44C22EE09731}" dt="2023-10-17T15:42:18.201" v="11090" actId="962"/>
          <ac:spMkLst>
            <pc:docMk/>
            <pc:sldMk cId="3596049350" sldId="1444"/>
            <ac:spMk id="7" creationId="{07FEED81-9F04-4E8D-A787-D33E55833A2E}"/>
          </ac:spMkLst>
        </pc:spChg>
        <pc:spChg chg="mod">
          <ac:chgData name="Griffin, Rachel" userId="fcae45bf-dcdb-4a43-a8cb-7f247a985ffc" providerId="ADAL" clId="{4AFC5210-25D7-4E0C-BD67-44C22EE09731}" dt="2023-10-18T17:08:53.590" v="13159" actId="962"/>
          <ac:spMkLst>
            <pc:docMk/>
            <pc:sldMk cId="3596049350" sldId="1444"/>
            <ac:spMk id="8" creationId="{072AAF4E-4154-4107-A1D3-5449905B66A5}"/>
          </ac:spMkLst>
        </pc:spChg>
        <pc:spChg chg="mod">
          <ac:chgData name="Griffin, Rachel" userId="fcae45bf-dcdb-4a43-a8cb-7f247a985ffc" providerId="ADAL" clId="{4AFC5210-25D7-4E0C-BD67-44C22EE09731}" dt="2023-10-18T17:09:00.296" v="13161" actId="962"/>
          <ac:spMkLst>
            <pc:docMk/>
            <pc:sldMk cId="3596049350" sldId="1444"/>
            <ac:spMk id="14" creationId="{1B844B31-53F9-4EA4-8EA8-DA13CEF5614C}"/>
          </ac:spMkLst>
        </pc:spChg>
        <pc:graphicFrameChg chg="mod">
          <ac:chgData name="Griffin, Rachel" userId="fcae45bf-dcdb-4a43-a8cb-7f247a985ffc" providerId="ADAL" clId="{4AFC5210-25D7-4E0C-BD67-44C22EE09731}" dt="2023-10-17T15:42:06.883" v="11089" actId="962"/>
          <ac:graphicFrameMkLst>
            <pc:docMk/>
            <pc:sldMk cId="3596049350" sldId="1444"/>
            <ac:graphicFrameMk id="6" creationId="{BFA91BEA-1134-43A4-B543-CA11E86186CC}"/>
          </ac:graphicFrameMkLst>
        </pc:graphicFrameChg>
        <pc:picChg chg="mod">
          <ac:chgData name="Griffin, Rachel" userId="fcae45bf-dcdb-4a43-a8cb-7f247a985ffc" providerId="ADAL" clId="{4AFC5210-25D7-4E0C-BD67-44C22EE09731}" dt="2023-10-18T17:08:59.448" v="13160" actId="962"/>
          <ac:picMkLst>
            <pc:docMk/>
            <pc:sldMk cId="3596049350" sldId="1444"/>
            <ac:picMk id="4" creationId="{7D87E969-76E0-4AD7-A49A-E7E212AC4B03}"/>
          </ac:picMkLst>
        </pc:picChg>
        <pc:picChg chg="mod">
          <ac:chgData name="Griffin, Rachel" userId="fcae45bf-dcdb-4a43-a8cb-7f247a985ffc" providerId="ADAL" clId="{4AFC5210-25D7-4E0C-BD67-44C22EE09731}" dt="2023-10-18T17:09:03.388" v="13162" actId="962"/>
          <ac:picMkLst>
            <pc:docMk/>
            <pc:sldMk cId="3596049350" sldId="1444"/>
            <ac:picMk id="12" creationId="{0BCFF393-AAB0-4327-9A6F-FF59D1651567}"/>
          </ac:picMkLst>
        </pc:picChg>
        <pc:cxnChg chg="mod">
          <ac:chgData name="Griffin, Rachel" userId="fcae45bf-dcdb-4a43-a8cb-7f247a985ffc" providerId="ADAL" clId="{4AFC5210-25D7-4E0C-BD67-44C22EE09731}" dt="2023-10-17T15:40:45.086" v="10965" actId="962"/>
          <ac:cxnSpMkLst>
            <pc:docMk/>
            <pc:sldMk cId="3596049350" sldId="1444"/>
            <ac:cxnSpMk id="17" creationId="{94A9D9C6-E99D-459B-A8D9-EB7638B975CF}"/>
          </ac:cxnSpMkLst>
        </pc:cxnChg>
      </pc:sldChg>
      <pc:sldChg chg="modSp mod ord">
        <pc:chgData name="Griffin, Rachel" userId="fcae45bf-dcdb-4a43-a8cb-7f247a985ffc" providerId="ADAL" clId="{4AFC5210-25D7-4E0C-BD67-44C22EE09731}" dt="2023-10-18T17:13:06.593" v="13170" actId="962"/>
        <pc:sldMkLst>
          <pc:docMk/>
          <pc:sldMk cId="4056966248" sldId="1445"/>
        </pc:sldMkLst>
        <pc:spChg chg="mod">
          <ac:chgData name="Griffin, Rachel" userId="fcae45bf-dcdb-4a43-a8cb-7f247a985ffc" providerId="ADAL" clId="{4AFC5210-25D7-4E0C-BD67-44C22EE09731}" dt="2023-10-18T17:11:21.858" v="13164" actId="962"/>
          <ac:spMkLst>
            <pc:docMk/>
            <pc:sldMk cId="4056966248" sldId="1445"/>
            <ac:spMk id="3" creationId="{913BACD7-780A-4ADE-8C26-F6443426109D}"/>
          </ac:spMkLst>
        </pc:spChg>
        <pc:spChg chg="mod">
          <ac:chgData name="Griffin, Rachel" userId="fcae45bf-dcdb-4a43-a8cb-7f247a985ffc" providerId="ADAL" clId="{4AFC5210-25D7-4E0C-BD67-44C22EE09731}" dt="2023-10-18T17:11:16.277" v="13163" actId="962"/>
          <ac:spMkLst>
            <pc:docMk/>
            <pc:sldMk cId="4056966248" sldId="1445"/>
            <ac:spMk id="5" creationId="{F25CED58-C882-49EC-9DD9-51EC89745339}"/>
          </ac:spMkLst>
        </pc:spChg>
        <pc:spChg chg="mod">
          <ac:chgData name="Griffin, Rachel" userId="fcae45bf-dcdb-4a43-a8cb-7f247a985ffc" providerId="ADAL" clId="{4AFC5210-25D7-4E0C-BD67-44C22EE09731}" dt="2023-10-17T15:42:28.494" v="11093" actId="962"/>
          <ac:spMkLst>
            <pc:docMk/>
            <pc:sldMk cId="4056966248" sldId="1445"/>
            <ac:spMk id="7" creationId="{07FEED81-9F04-4E8D-A787-D33E55833A2E}"/>
          </ac:spMkLst>
        </pc:spChg>
        <pc:spChg chg="mod">
          <ac:chgData name="Griffin, Rachel" userId="fcae45bf-dcdb-4a43-a8cb-7f247a985ffc" providerId="ADAL" clId="{4AFC5210-25D7-4E0C-BD67-44C22EE09731}" dt="2023-10-18T17:11:23.491" v="13166" actId="962"/>
          <ac:spMkLst>
            <pc:docMk/>
            <pc:sldMk cId="4056966248" sldId="1445"/>
            <ac:spMk id="14" creationId="{C22208FD-7042-4EB1-AE0F-2039A14431F2}"/>
          </ac:spMkLst>
        </pc:spChg>
        <pc:graphicFrameChg chg="mod">
          <ac:chgData name="Griffin, Rachel" userId="fcae45bf-dcdb-4a43-a8cb-7f247a985ffc" providerId="ADAL" clId="{4AFC5210-25D7-4E0C-BD67-44C22EE09731}" dt="2023-10-18T17:13:06.593" v="13170" actId="962"/>
          <ac:graphicFrameMkLst>
            <pc:docMk/>
            <pc:sldMk cId="4056966248" sldId="1445"/>
            <ac:graphicFrameMk id="6" creationId="{BFA91BEA-1134-43A4-B543-CA11E86186CC}"/>
          </ac:graphicFrameMkLst>
        </pc:graphicFrameChg>
        <pc:picChg chg="mod">
          <ac:chgData name="Griffin, Rachel" userId="fcae45bf-dcdb-4a43-a8cb-7f247a985ffc" providerId="ADAL" clId="{4AFC5210-25D7-4E0C-BD67-44C22EE09731}" dt="2023-10-18T17:11:22.723" v="13165" actId="962"/>
          <ac:picMkLst>
            <pc:docMk/>
            <pc:sldMk cId="4056966248" sldId="1445"/>
            <ac:picMk id="8" creationId="{AD283F24-A57D-4B65-A0E8-244D7ED29049}"/>
          </ac:picMkLst>
        </pc:picChg>
        <pc:picChg chg="mod">
          <ac:chgData name="Griffin, Rachel" userId="fcae45bf-dcdb-4a43-a8cb-7f247a985ffc" providerId="ADAL" clId="{4AFC5210-25D7-4E0C-BD67-44C22EE09731}" dt="2023-10-18T17:11:25.896" v="13167" actId="962"/>
          <ac:picMkLst>
            <pc:docMk/>
            <pc:sldMk cId="4056966248" sldId="1445"/>
            <ac:picMk id="12" creationId="{0BCFF393-AAB0-4327-9A6F-FF59D1651567}"/>
          </ac:picMkLst>
        </pc:picChg>
        <pc:cxnChg chg="mod">
          <ac:chgData name="Griffin, Rachel" userId="fcae45bf-dcdb-4a43-a8cb-7f247a985ffc" providerId="ADAL" clId="{4AFC5210-25D7-4E0C-BD67-44C22EE09731}" dt="2023-10-17T15:42:20.908" v="11091" actId="962"/>
          <ac:cxnSpMkLst>
            <pc:docMk/>
            <pc:sldMk cId="4056966248" sldId="1445"/>
            <ac:cxnSpMk id="17" creationId="{94A9D9C6-E99D-459B-A8D9-EB7638B975CF}"/>
          </ac:cxnSpMkLst>
        </pc:cxnChg>
      </pc:sldChg>
      <pc:sldChg chg="modSp mod ord">
        <pc:chgData name="Griffin, Rachel" userId="fcae45bf-dcdb-4a43-a8cb-7f247a985ffc" providerId="ADAL" clId="{4AFC5210-25D7-4E0C-BD67-44C22EE09731}" dt="2023-10-18T17:17:43.111" v="13179" actId="962"/>
        <pc:sldMkLst>
          <pc:docMk/>
          <pc:sldMk cId="256368197" sldId="1446"/>
        </pc:sldMkLst>
        <pc:spChg chg="mod">
          <ac:chgData name="Griffin, Rachel" userId="fcae45bf-dcdb-4a43-a8cb-7f247a985ffc" providerId="ADAL" clId="{4AFC5210-25D7-4E0C-BD67-44C22EE09731}" dt="2023-10-18T17:15:21.967" v="13174" actId="962"/>
          <ac:spMkLst>
            <pc:docMk/>
            <pc:sldMk cId="256368197" sldId="1446"/>
            <ac:spMk id="3" creationId="{913BACD7-780A-4ADE-8C26-F6443426109D}"/>
          </ac:spMkLst>
        </pc:spChg>
        <pc:spChg chg="mod">
          <ac:chgData name="Griffin, Rachel" userId="fcae45bf-dcdb-4a43-a8cb-7f247a985ffc" providerId="ADAL" clId="{4AFC5210-25D7-4E0C-BD67-44C22EE09731}" dt="2023-10-18T17:15:20.259" v="13172" actId="962"/>
          <ac:spMkLst>
            <pc:docMk/>
            <pc:sldMk cId="256368197" sldId="1446"/>
            <ac:spMk id="5" creationId="{F25CED58-C882-49EC-9DD9-51EC89745339}"/>
          </ac:spMkLst>
        </pc:spChg>
        <pc:spChg chg="mod">
          <ac:chgData name="Griffin, Rachel" userId="fcae45bf-dcdb-4a43-a8cb-7f247a985ffc" providerId="ADAL" clId="{4AFC5210-25D7-4E0C-BD67-44C22EE09731}" dt="2023-10-18T17:15:20.886" v="13173" actId="962"/>
          <ac:spMkLst>
            <pc:docMk/>
            <pc:sldMk cId="256368197" sldId="1446"/>
            <ac:spMk id="7" creationId="{07FEED81-9F04-4E8D-A787-D33E55833A2E}"/>
          </ac:spMkLst>
        </pc:spChg>
        <pc:spChg chg="mod">
          <ac:chgData name="Griffin, Rachel" userId="fcae45bf-dcdb-4a43-a8cb-7f247a985ffc" providerId="ADAL" clId="{4AFC5210-25D7-4E0C-BD67-44C22EE09731}" dt="2023-10-18T17:15:25.349" v="13176" actId="962"/>
          <ac:spMkLst>
            <pc:docMk/>
            <pc:sldMk cId="256368197" sldId="1446"/>
            <ac:spMk id="14" creationId="{8F859936-BCD0-40BC-B2D3-E7ABCD449443}"/>
          </ac:spMkLst>
        </pc:spChg>
        <pc:graphicFrameChg chg="mod">
          <ac:chgData name="Griffin, Rachel" userId="fcae45bf-dcdb-4a43-a8cb-7f247a985ffc" providerId="ADAL" clId="{4AFC5210-25D7-4E0C-BD67-44C22EE09731}" dt="2023-10-18T17:17:43.111" v="13179" actId="962"/>
          <ac:graphicFrameMkLst>
            <pc:docMk/>
            <pc:sldMk cId="256368197" sldId="1446"/>
            <ac:graphicFrameMk id="6" creationId="{BFA91BEA-1134-43A4-B543-CA11E86186CC}"/>
          </ac:graphicFrameMkLst>
        </pc:graphicFrameChg>
        <pc:picChg chg="mod">
          <ac:chgData name="Griffin, Rachel" userId="fcae45bf-dcdb-4a43-a8cb-7f247a985ffc" providerId="ADAL" clId="{4AFC5210-25D7-4E0C-BD67-44C22EE09731}" dt="2023-10-18T17:15:23.767" v="13175" actId="962"/>
          <ac:picMkLst>
            <pc:docMk/>
            <pc:sldMk cId="256368197" sldId="1446"/>
            <ac:picMk id="8" creationId="{432E50E3-E5CF-41F1-AC88-A2CFA4ECAC60}"/>
          </ac:picMkLst>
        </pc:picChg>
        <pc:picChg chg="mod">
          <ac:chgData name="Griffin, Rachel" userId="fcae45bf-dcdb-4a43-a8cb-7f247a985ffc" providerId="ADAL" clId="{4AFC5210-25D7-4E0C-BD67-44C22EE09731}" dt="2023-10-18T17:15:18.248" v="13171" actId="962"/>
          <ac:picMkLst>
            <pc:docMk/>
            <pc:sldMk cId="256368197" sldId="1446"/>
            <ac:picMk id="12" creationId="{0BCFF393-AAB0-4327-9A6F-FF59D1651567}"/>
          </ac:picMkLst>
        </pc:picChg>
        <pc:cxnChg chg="mod">
          <ac:chgData name="Griffin, Rachel" userId="fcae45bf-dcdb-4a43-a8cb-7f247a985ffc" providerId="ADAL" clId="{4AFC5210-25D7-4E0C-BD67-44C22EE09731}" dt="2023-10-17T15:42:31.599" v="11094" actId="962"/>
          <ac:cxnSpMkLst>
            <pc:docMk/>
            <pc:sldMk cId="256368197" sldId="1446"/>
            <ac:cxnSpMk id="17" creationId="{94A9D9C6-E99D-459B-A8D9-EB7638B975CF}"/>
          </ac:cxnSpMkLst>
        </pc:cxnChg>
      </pc:sldChg>
      <pc:sldChg chg="delSp modSp mod ord">
        <pc:chgData name="Griffin, Rachel" userId="fcae45bf-dcdb-4a43-a8cb-7f247a985ffc" providerId="ADAL" clId="{4AFC5210-25D7-4E0C-BD67-44C22EE09731}" dt="2023-10-18T17:22:04.468" v="13206" actId="962"/>
        <pc:sldMkLst>
          <pc:docMk/>
          <pc:sldMk cId="3487183430" sldId="1447"/>
        </pc:sldMkLst>
        <pc:spChg chg="del">
          <ac:chgData name="Griffin, Rachel" userId="fcae45bf-dcdb-4a43-a8cb-7f247a985ffc" providerId="ADAL" clId="{4AFC5210-25D7-4E0C-BD67-44C22EE09731}" dt="2023-10-17T22:04:54.265" v="11906" actId="478"/>
          <ac:spMkLst>
            <pc:docMk/>
            <pc:sldMk cId="3487183430" sldId="1447"/>
            <ac:spMk id="4" creationId="{B127D3FD-ADB8-4AA1-B2AD-F4754ED3387E}"/>
          </ac:spMkLst>
        </pc:spChg>
        <pc:spChg chg="mod">
          <ac:chgData name="Griffin, Rachel" userId="fcae45bf-dcdb-4a43-a8cb-7f247a985ffc" providerId="ADAL" clId="{4AFC5210-25D7-4E0C-BD67-44C22EE09731}" dt="2023-10-18T17:21:53.468" v="13203" actId="962"/>
          <ac:spMkLst>
            <pc:docMk/>
            <pc:sldMk cId="3487183430" sldId="1447"/>
            <ac:spMk id="5" creationId="{F25CED58-C882-49EC-9DD9-51EC89745339}"/>
          </ac:spMkLst>
        </pc:spChg>
        <pc:spChg chg="mod">
          <ac:chgData name="Griffin, Rachel" userId="fcae45bf-dcdb-4a43-a8cb-7f247a985ffc" providerId="ADAL" clId="{4AFC5210-25D7-4E0C-BD67-44C22EE09731}" dt="2023-10-18T17:21:54.256" v="13204" actId="962"/>
          <ac:spMkLst>
            <pc:docMk/>
            <pc:sldMk cId="3487183430" sldId="1447"/>
            <ac:spMk id="8" creationId="{3B316970-51ED-4F2B-897E-1CA72B14164F}"/>
          </ac:spMkLst>
        </pc:spChg>
        <pc:spChg chg="mod">
          <ac:chgData name="Griffin, Rachel" userId="fcae45bf-dcdb-4a43-a8cb-7f247a985ffc" providerId="ADAL" clId="{4AFC5210-25D7-4E0C-BD67-44C22EE09731}" dt="2023-10-18T17:22:04.468" v="13206" actId="962"/>
          <ac:spMkLst>
            <pc:docMk/>
            <pc:sldMk cId="3487183430" sldId="1447"/>
            <ac:spMk id="14" creationId="{9CAAA5D5-3A8B-410C-9703-EC7AF2207C09}"/>
          </ac:spMkLst>
        </pc:spChg>
        <pc:graphicFrameChg chg="mod">
          <ac:chgData name="Griffin, Rachel" userId="fcae45bf-dcdb-4a43-a8cb-7f247a985ffc" providerId="ADAL" clId="{4AFC5210-25D7-4E0C-BD67-44C22EE09731}" dt="2023-10-18T17:21:51.496" v="13202" actId="962"/>
          <ac:graphicFrameMkLst>
            <pc:docMk/>
            <pc:sldMk cId="3487183430" sldId="1447"/>
            <ac:graphicFrameMk id="6" creationId="{BFA91BEA-1134-43A4-B543-CA11E86186CC}"/>
          </ac:graphicFrameMkLst>
        </pc:graphicFrameChg>
        <pc:picChg chg="mod">
          <ac:chgData name="Griffin, Rachel" userId="fcae45bf-dcdb-4a43-a8cb-7f247a985ffc" providerId="ADAL" clId="{4AFC5210-25D7-4E0C-BD67-44C22EE09731}" dt="2023-10-18T17:22:03.316" v="13205" actId="962"/>
          <ac:picMkLst>
            <pc:docMk/>
            <pc:sldMk cId="3487183430" sldId="1447"/>
            <ac:picMk id="7" creationId="{DEACC73E-96E3-410E-BB88-2E1B8A7ADF55}"/>
          </ac:picMkLst>
        </pc:picChg>
        <pc:picChg chg="mod">
          <ac:chgData name="Griffin, Rachel" userId="fcae45bf-dcdb-4a43-a8cb-7f247a985ffc" providerId="ADAL" clId="{4AFC5210-25D7-4E0C-BD67-44C22EE09731}" dt="2023-10-18T17:21:24.303" v="13198" actId="962"/>
          <ac:picMkLst>
            <pc:docMk/>
            <pc:sldMk cId="3487183430" sldId="1447"/>
            <ac:picMk id="12" creationId="{0BCFF393-AAB0-4327-9A6F-FF59D1651567}"/>
          </ac:picMkLst>
        </pc:picChg>
        <pc:cxnChg chg="mod">
          <ac:chgData name="Griffin, Rachel" userId="fcae45bf-dcdb-4a43-a8cb-7f247a985ffc" providerId="ADAL" clId="{4AFC5210-25D7-4E0C-BD67-44C22EE09731}" dt="2023-10-17T15:44:48.575" v="11795" actId="962"/>
          <ac:cxnSpMkLst>
            <pc:docMk/>
            <pc:sldMk cId="3487183430" sldId="1447"/>
            <ac:cxnSpMk id="17" creationId="{94A9D9C6-E99D-459B-A8D9-EB7638B975CF}"/>
          </ac:cxnSpMkLst>
        </pc:cxnChg>
      </pc:sldChg>
      <pc:sldChg chg="modSp">
        <pc:chgData name="Griffin, Rachel" userId="fcae45bf-dcdb-4a43-a8cb-7f247a985ffc" providerId="ADAL" clId="{4AFC5210-25D7-4E0C-BD67-44C22EE09731}" dt="2023-10-17T22:54:10.212" v="13072" actId="962"/>
        <pc:sldMkLst>
          <pc:docMk/>
          <pc:sldMk cId="2655239726" sldId="1448"/>
        </pc:sldMkLst>
        <pc:spChg chg="mod">
          <ac:chgData name="Griffin, Rachel" userId="fcae45bf-dcdb-4a43-a8cb-7f247a985ffc" providerId="ADAL" clId="{4AFC5210-25D7-4E0C-BD67-44C22EE09731}" dt="2023-10-17T22:54:10.212" v="13072" actId="962"/>
          <ac:spMkLst>
            <pc:docMk/>
            <pc:sldMk cId="2655239726" sldId="1448"/>
            <ac:spMk id="16" creationId="{7D8345E7-29E8-43B9-90C5-50EA8DC817FE}"/>
          </ac:spMkLst>
        </pc:spChg>
        <pc:graphicFrameChg chg="mod">
          <ac:chgData name="Griffin, Rachel" userId="fcae45bf-dcdb-4a43-a8cb-7f247a985ffc" providerId="ADAL" clId="{4AFC5210-25D7-4E0C-BD67-44C22EE09731}" dt="2023-10-17T22:26:40.275" v="12977" actId="12100"/>
          <ac:graphicFrameMkLst>
            <pc:docMk/>
            <pc:sldMk cId="2655239726" sldId="1448"/>
            <ac:graphicFrameMk id="3" creationId="{BAE44A70-34BA-4523-A98E-1025BB2EBE2B}"/>
          </ac:graphicFrameMkLst>
        </pc:graphicFrameChg>
        <pc:picChg chg="mod">
          <ac:chgData name="Griffin, Rachel" userId="fcae45bf-dcdb-4a43-a8cb-7f247a985ffc" providerId="ADAL" clId="{4AFC5210-25D7-4E0C-BD67-44C22EE09731}" dt="2023-10-17T22:54:05.400" v="13071" actId="962"/>
          <ac:picMkLst>
            <pc:docMk/>
            <pc:sldMk cId="2655239726" sldId="1448"/>
            <ac:picMk id="12" creationId="{0BCFF393-AAB0-4327-9A6F-FF59D1651567}"/>
          </ac:picMkLst>
        </pc:picChg>
      </pc:sldChg>
      <pc:sldChg chg="delSp modSp mod">
        <pc:chgData name="Griffin, Rachel" userId="fcae45bf-dcdb-4a43-a8cb-7f247a985ffc" providerId="ADAL" clId="{4AFC5210-25D7-4E0C-BD67-44C22EE09731}" dt="2023-10-18T18:59:21.609" v="13216" actId="1076"/>
        <pc:sldMkLst>
          <pc:docMk/>
          <pc:sldMk cId="2213499502" sldId="1449"/>
        </pc:sldMkLst>
        <pc:spChg chg="del">
          <ac:chgData name="Griffin, Rachel" userId="fcae45bf-dcdb-4a43-a8cb-7f247a985ffc" providerId="ADAL" clId="{4AFC5210-25D7-4E0C-BD67-44C22EE09731}" dt="2023-10-17T22:08:24.375" v="12042" actId="478"/>
          <ac:spMkLst>
            <pc:docMk/>
            <pc:sldMk cId="2213499502" sldId="1449"/>
            <ac:spMk id="4" creationId="{B127D3FD-ADB8-4AA1-B2AD-F4754ED3387E}"/>
          </ac:spMkLst>
        </pc:spChg>
        <pc:spChg chg="mod">
          <ac:chgData name="Griffin, Rachel" userId="fcae45bf-dcdb-4a43-a8cb-7f247a985ffc" providerId="ADAL" clId="{4AFC5210-25D7-4E0C-BD67-44C22EE09731}" dt="2023-10-18T18:59:21.609" v="13216" actId="1076"/>
          <ac:spMkLst>
            <pc:docMk/>
            <pc:sldMk cId="2213499502" sldId="1449"/>
            <ac:spMk id="14" creationId="{83EB678A-F6F2-4B76-BF8B-090A8A9CA919}"/>
          </ac:spMkLst>
        </pc:spChg>
        <pc:spChg chg="mod">
          <ac:chgData name="Griffin, Rachel" userId="fcae45bf-dcdb-4a43-a8cb-7f247a985ffc" providerId="ADAL" clId="{4AFC5210-25D7-4E0C-BD67-44C22EE09731}" dt="2023-10-18T18:59:16.907" v="13214" actId="962"/>
          <ac:spMkLst>
            <pc:docMk/>
            <pc:sldMk cId="2213499502" sldId="1449"/>
            <ac:spMk id="15" creationId="{5723B6E0-D369-4D0D-98D1-831EB4339656}"/>
          </ac:spMkLst>
        </pc:spChg>
        <pc:graphicFrameChg chg="mod">
          <ac:chgData name="Griffin, Rachel" userId="fcae45bf-dcdb-4a43-a8cb-7f247a985ffc" providerId="ADAL" clId="{4AFC5210-25D7-4E0C-BD67-44C22EE09731}" dt="2023-10-17T22:08:17.940" v="12041" actId="962"/>
          <ac:graphicFrameMkLst>
            <pc:docMk/>
            <pc:sldMk cId="2213499502" sldId="1449"/>
            <ac:graphicFrameMk id="6" creationId="{BFA91BEA-1134-43A4-B543-CA11E86186CC}"/>
          </ac:graphicFrameMkLst>
        </pc:graphicFrameChg>
        <pc:picChg chg="mod">
          <ac:chgData name="Griffin, Rachel" userId="fcae45bf-dcdb-4a43-a8cb-7f247a985ffc" providerId="ADAL" clId="{4AFC5210-25D7-4E0C-BD67-44C22EE09731}" dt="2023-10-18T18:58:31.821" v="13213" actId="962"/>
          <ac:picMkLst>
            <pc:docMk/>
            <pc:sldMk cId="2213499502" sldId="1449"/>
            <ac:picMk id="9" creationId="{1DC16026-F096-454D-BAD0-364E76F58354}"/>
          </ac:picMkLst>
        </pc:picChg>
        <pc:picChg chg="mod">
          <ac:chgData name="Griffin, Rachel" userId="fcae45bf-dcdb-4a43-a8cb-7f247a985ffc" providerId="ADAL" clId="{4AFC5210-25D7-4E0C-BD67-44C22EE09731}" dt="2023-10-18T18:57:10.389" v="13212" actId="962"/>
          <ac:picMkLst>
            <pc:docMk/>
            <pc:sldMk cId="2213499502" sldId="1449"/>
            <ac:picMk id="12" creationId="{0BCFF393-AAB0-4327-9A6F-FF59D1651567}"/>
          </ac:picMkLst>
        </pc:picChg>
        <pc:cxnChg chg="mod">
          <ac:chgData name="Griffin, Rachel" userId="fcae45bf-dcdb-4a43-a8cb-7f247a985ffc" providerId="ADAL" clId="{4AFC5210-25D7-4E0C-BD67-44C22EE09731}" dt="2023-10-17T22:08:06.564" v="12039" actId="962"/>
          <ac:cxnSpMkLst>
            <pc:docMk/>
            <pc:sldMk cId="2213499502" sldId="1449"/>
            <ac:cxnSpMk id="17" creationId="{94A9D9C6-E99D-459B-A8D9-EB7638B975CF}"/>
          </ac:cxnSpMkLst>
        </pc:cxnChg>
      </pc:sldChg>
      <pc:sldChg chg="modSp mod">
        <pc:chgData name="Griffin, Rachel" userId="fcae45bf-dcdb-4a43-a8cb-7f247a985ffc" providerId="ADAL" clId="{4AFC5210-25D7-4E0C-BD67-44C22EE09731}" dt="2023-10-18T19:04:56.620" v="13222" actId="962"/>
        <pc:sldMkLst>
          <pc:docMk/>
          <pc:sldMk cId="3663086371" sldId="1451"/>
        </pc:sldMkLst>
        <pc:spChg chg="mod">
          <ac:chgData name="Griffin, Rachel" userId="fcae45bf-dcdb-4a43-a8cb-7f247a985ffc" providerId="ADAL" clId="{4AFC5210-25D7-4E0C-BD67-44C22EE09731}" dt="2023-10-18T19:04:41.075" v="13219" actId="962"/>
          <ac:spMkLst>
            <pc:docMk/>
            <pc:sldMk cId="3663086371" sldId="1451"/>
            <ac:spMk id="15" creationId="{585E8BBC-0898-4624-A9B0-883C15AF013B}"/>
          </ac:spMkLst>
        </pc:spChg>
        <pc:graphicFrameChg chg="mod">
          <ac:chgData name="Griffin, Rachel" userId="fcae45bf-dcdb-4a43-a8cb-7f247a985ffc" providerId="ADAL" clId="{4AFC5210-25D7-4E0C-BD67-44C22EE09731}" dt="2023-10-18T19:04:56.620" v="13222" actId="962"/>
          <ac:graphicFrameMkLst>
            <pc:docMk/>
            <pc:sldMk cId="3663086371" sldId="1451"/>
            <ac:graphicFrameMk id="6" creationId="{BFA91BEA-1134-43A4-B543-CA11E86186CC}"/>
          </ac:graphicFrameMkLst>
        </pc:graphicFrameChg>
        <pc:picChg chg="mod">
          <ac:chgData name="Griffin, Rachel" userId="fcae45bf-dcdb-4a43-a8cb-7f247a985ffc" providerId="ADAL" clId="{4AFC5210-25D7-4E0C-BD67-44C22EE09731}" dt="2023-10-18T19:04:40.237" v="13218" actId="962"/>
          <ac:picMkLst>
            <pc:docMk/>
            <pc:sldMk cId="3663086371" sldId="1451"/>
            <ac:picMk id="4" creationId="{9365A154-7988-4419-8B30-4AF6255EFF99}"/>
          </ac:picMkLst>
        </pc:picChg>
        <pc:picChg chg="mod">
          <ac:chgData name="Griffin, Rachel" userId="fcae45bf-dcdb-4a43-a8cb-7f247a985ffc" providerId="ADAL" clId="{4AFC5210-25D7-4E0C-BD67-44C22EE09731}" dt="2023-10-18T19:04:36.839" v="13217" actId="962"/>
          <ac:picMkLst>
            <pc:docMk/>
            <pc:sldMk cId="3663086371" sldId="1451"/>
            <ac:picMk id="12" creationId="{0BCFF393-AAB0-4327-9A6F-FF59D1651567}"/>
          </ac:picMkLst>
        </pc:picChg>
        <pc:cxnChg chg="mod">
          <ac:chgData name="Griffin, Rachel" userId="fcae45bf-dcdb-4a43-a8cb-7f247a985ffc" providerId="ADAL" clId="{4AFC5210-25D7-4E0C-BD67-44C22EE09731}" dt="2023-10-17T22:08:27.800" v="12043" actId="962"/>
          <ac:cxnSpMkLst>
            <pc:docMk/>
            <pc:sldMk cId="3663086371" sldId="1451"/>
            <ac:cxnSpMk id="17" creationId="{94A9D9C6-E99D-459B-A8D9-EB7638B975CF}"/>
          </ac:cxnSpMkLst>
        </pc:cxnChg>
      </pc:sldChg>
      <pc:sldChg chg="addSp delSp modSp mod">
        <pc:chgData name="Griffin, Rachel" userId="fcae45bf-dcdb-4a43-a8cb-7f247a985ffc" providerId="ADAL" clId="{4AFC5210-25D7-4E0C-BD67-44C22EE09731}" dt="2023-10-18T19:09:55.280" v="13231" actId="962"/>
        <pc:sldMkLst>
          <pc:docMk/>
          <pc:sldMk cId="1243538619" sldId="1452"/>
        </pc:sldMkLst>
        <pc:spChg chg="add del mod">
          <ac:chgData name="Griffin, Rachel" userId="fcae45bf-dcdb-4a43-a8cb-7f247a985ffc" providerId="ADAL" clId="{4AFC5210-25D7-4E0C-BD67-44C22EE09731}" dt="2023-10-16T04:57:33.977" v="4918" actId="21"/>
          <ac:spMkLst>
            <pc:docMk/>
            <pc:sldMk cId="1243538619" sldId="1452"/>
            <ac:spMk id="3" creationId="{A4C3CEA3-CD7E-F915-F451-F14C19FD8C00}"/>
          </ac:spMkLst>
        </pc:spChg>
        <pc:spChg chg="mod">
          <ac:chgData name="Griffin, Rachel" userId="fcae45bf-dcdb-4a43-a8cb-7f247a985ffc" providerId="ADAL" clId="{4AFC5210-25D7-4E0C-BD67-44C22EE09731}" dt="2023-10-18T19:09:55.280" v="13231" actId="962"/>
          <ac:spMkLst>
            <pc:docMk/>
            <pc:sldMk cId="1243538619" sldId="1452"/>
            <ac:spMk id="15" creationId="{3F8E4751-ACEE-452B-AEED-0460DE8B6ACF}"/>
          </ac:spMkLst>
        </pc:spChg>
        <pc:graphicFrameChg chg="mod">
          <ac:chgData name="Griffin, Rachel" userId="fcae45bf-dcdb-4a43-a8cb-7f247a985ffc" providerId="ADAL" clId="{4AFC5210-25D7-4E0C-BD67-44C22EE09731}" dt="2023-10-17T22:09:48.032" v="12388" actId="962"/>
          <ac:graphicFrameMkLst>
            <pc:docMk/>
            <pc:sldMk cId="1243538619" sldId="1452"/>
            <ac:graphicFrameMk id="6" creationId="{BFA91BEA-1134-43A4-B543-CA11E86186CC}"/>
          </ac:graphicFrameMkLst>
        </pc:graphicFrameChg>
        <pc:picChg chg="mod">
          <ac:chgData name="Griffin, Rachel" userId="fcae45bf-dcdb-4a43-a8cb-7f247a985ffc" providerId="ADAL" clId="{4AFC5210-25D7-4E0C-BD67-44C22EE09731}" dt="2023-10-18T19:09:54.847" v="13230" actId="962"/>
          <ac:picMkLst>
            <pc:docMk/>
            <pc:sldMk cId="1243538619" sldId="1452"/>
            <ac:picMk id="4" creationId="{A2C35483-3D9B-4058-A1FE-5FE0670C58CF}"/>
          </ac:picMkLst>
        </pc:picChg>
        <pc:picChg chg="mod">
          <ac:chgData name="Griffin, Rachel" userId="fcae45bf-dcdb-4a43-a8cb-7f247a985ffc" providerId="ADAL" clId="{4AFC5210-25D7-4E0C-BD67-44C22EE09731}" dt="2023-10-18T19:09:51.881" v="13229" actId="962"/>
          <ac:picMkLst>
            <pc:docMk/>
            <pc:sldMk cId="1243538619" sldId="1452"/>
            <ac:picMk id="12" creationId="{0BCFF393-AAB0-4327-9A6F-FF59D1651567}"/>
          </ac:picMkLst>
        </pc:picChg>
        <pc:cxnChg chg="mod">
          <ac:chgData name="Griffin, Rachel" userId="fcae45bf-dcdb-4a43-a8cb-7f247a985ffc" providerId="ADAL" clId="{4AFC5210-25D7-4E0C-BD67-44C22EE09731}" dt="2023-10-17T22:09:31.697" v="12262" actId="962"/>
          <ac:cxnSpMkLst>
            <pc:docMk/>
            <pc:sldMk cId="1243538619" sldId="1452"/>
            <ac:cxnSpMk id="17" creationId="{94A9D9C6-E99D-459B-A8D9-EB7638B975CF}"/>
          </ac:cxnSpMkLst>
        </pc:cxnChg>
      </pc:sldChg>
      <pc:sldChg chg="modSp mod">
        <pc:chgData name="Griffin, Rachel" userId="fcae45bf-dcdb-4a43-a8cb-7f247a985ffc" providerId="ADAL" clId="{4AFC5210-25D7-4E0C-BD67-44C22EE09731}" dt="2023-10-18T19:13:43.784" v="13239" actId="962"/>
        <pc:sldMkLst>
          <pc:docMk/>
          <pc:sldMk cId="3890568174" sldId="1453"/>
        </pc:sldMkLst>
        <pc:spChg chg="mod">
          <ac:chgData name="Griffin, Rachel" userId="fcae45bf-dcdb-4a43-a8cb-7f247a985ffc" providerId="ADAL" clId="{4AFC5210-25D7-4E0C-BD67-44C22EE09731}" dt="2023-10-18T19:10:02.780" v="13233" actId="962"/>
          <ac:spMkLst>
            <pc:docMk/>
            <pc:sldMk cId="3890568174" sldId="1453"/>
            <ac:spMk id="3" creationId="{8F10366A-F7BE-411B-AD6E-10D624D59BCF}"/>
          </ac:spMkLst>
        </pc:spChg>
        <pc:spChg chg="mod">
          <ac:chgData name="Griffin, Rachel" userId="fcae45bf-dcdb-4a43-a8cb-7f247a985ffc" providerId="ADAL" clId="{4AFC5210-25D7-4E0C-BD67-44C22EE09731}" dt="2023-10-18T19:10:03.462" v="13234" actId="962"/>
          <ac:spMkLst>
            <pc:docMk/>
            <pc:sldMk cId="3890568174" sldId="1453"/>
            <ac:spMk id="4" creationId="{F2BD98F6-B30D-4110-B394-FFC00E150240}"/>
          </ac:spMkLst>
        </pc:spChg>
        <pc:spChg chg="mod">
          <ac:chgData name="Griffin, Rachel" userId="fcae45bf-dcdb-4a43-a8cb-7f247a985ffc" providerId="ADAL" clId="{4AFC5210-25D7-4E0C-BD67-44C22EE09731}" dt="2023-10-18T19:10:05.652" v="13235" actId="962"/>
          <ac:spMkLst>
            <pc:docMk/>
            <pc:sldMk cId="3890568174" sldId="1453"/>
            <ac:spMk id="5" creationId="{A6499B3C-CAFE-449D-8B2C-6EE2485F487A}"/>
          </ac:spMkLst>
        </pc:spChg>
        <pc:spChg chg="mod">
          <ac:chgData name="Griffin, Rachel" userId="fcae45bf-dcdb-4a43-a8cb-7f247a985ffc" providerId="ADAL" clId="{4AFC5210-25D7-4E0C-BD67-44C22EE09731}" dt="2023-10-18T19:10:06.311" v="13236" actId="962"/>
          <ac:spMkLst>
            <pc:docMk/>
            <pc:sldMk cId="3890568174" sldId="1453"/>
            <ac:spMk id="8" creationId="{E270DD24-2013-4CF8-AF46-5CF5A1629598}"/>
          </ac:spMkLst>
        </pc:spChg>
        <pc:spChg chg="mod">
          <ac:chgData name="Griffin, Rachel" userId="fcae45bf-dcdb-4a43-a8cb-7f247a985ffc" providerId="ADAL" clId="{4AFC5210-25D7-4E0C-BD67-44C22EE09731}" dt="2023-10-18T19:10:07.127" v="13237" actId="962"/>
          <ac:spMkLst>
            <pc:docMk/>
            <pc:sldMk cId="3890568174" sldId="1453"/>
            <ac:spMk id="10" creationId="{99C9E000-E089-4C69-A131-8B092FB7FEB4}"/>
          </ac:spMkLst>
        </pc:spChg>
        <pc:spChg chg="mod">
          <ac:chgData name="Griffin, Rachel" userId="fcae45bf-dcdb-4a43-a8cb-7f247a985ffc" providerId="ADAL" clId="{4AFC5210-25D7-4E0C-BD67-44C22EE09731}" dt="2023-10-18T19:13:43.784" v="13239" actId="962"/>
          <ac:spMkLst>
            <pc:docMk/>
            <pc:sldMk cId="3890568174" sldId="1453"/>
            <ac:spMk id="19" creationId="{96B3CB37-0905-4D5C-BC0C-AB652F942130}"/>
          </ac:spMkLst>
        </pc:spChg>
        <pc:graphicFrameChg chg="mod">
          <ac:chgData name="Griffin, Rachel" userId="fcae45bf-dcdb-4a43-a8cb-7f247a985ffc" providerId="ADAL" clId="{4AFC5210-25D7-4E0C-BD67-44C22EE09731}" dt="2023-10-17T22:19:51.116" v="12507" actId="962"/>
          <ac:graphicFrameMkLst>
            <pc:docMk/>
            <pc:sldMk cId="3890568174" sldId="1453"/>
            <ac:graphicFrameMk id="6" creationId="{BFA91BEA-1134-43A4-B543-CA11E86186CC}"/>
          </ac:graphicFrameMkLst>
        </pc:graphicFrameChg>
        <pc:picChg chg="mod">
          <ac:chgData name="Griffin, Rachel" userId="fcae45bf-dcdb-4a43-a8cb-7f247a985ffc" providerId="ADAL" clId="{4AFC5210-25D7-4E0C-BD67-44C22EE09731}" dt="2023-10-18T19:13:41.302" v="13238" actId="962"/>
          <ac:picMkLst>
            <pc:docMk/>
            <pc:sldMk cId="3890568174" sldId="1453"/>
            <ac:picMk id="9" creationId="{E024A702-0D57-4521-A8B3-23C3F140C88A}"/>
          </ac:picMkLst>
        </pc:picChg>
        <pc:picChg chg="mod">
          <ac:chgData name="Griffin, Rachel" userId="fcae45bf-dcdb-4a43-a8cb-7f247a985ffc" providerId="ADAL" clId="{4AFC5210-25D7-4E0C-BD67-44C22EE09731}" dt="2023-10-18T19:09:59.844" v="13232" actId="962"/>
          <ac:picMkLst>
            <pc:docMk/>
            <pc:sldMk cId="3890568174" sldId="1453"/>
            <ac:picMk id="12" creationId="{0BCFF393-AAB0-4327-9A6F-FF59D1651567}"/>
          </ac:picMkLst>
        </pc:picChg>
        <pc:cxnChg chg="mod">
          <ac:chgData name="Griffin, Rachel" userId="fcae45bf-dcdb-4a43-a8cb-7f247a985ffc" providerId="ADAL" clId="{4AFC5210-25D7-4E0C-BD67-44C22EE09731}" dt="2023-10-17T22:19:55.194" v="12508" actId="962"/>
          <ac:cxnSpMkLst>
            <pc:docMk/>
            <pc:sldMk cId="3890568174" sldId="1453"/>
            <ac:cxnSpMk id="15" creationId="{CCD310A7-1F09-4E49-B2F6-63B6507D43FA}"/>
          </ac:cxnSpMkLst>
        </pc:cxnChg>
        <pc:cxnChg chg="mod">
          <ac:chgData name="Griffin, Rachel" userId="fcae45bf-dcdb-4a43-a8cb-7f247a985ffc" providerId="ADAL" clId="{4AFC5210-25D7-4E0C-BD67-44C22EE09731}" dt="2023-10-17T22:19:00.430" v="12389" actId="962"/>
          <ac:cxnSpMkLst>
            <pc:docMk/>
            <pc:sldMk cId="3890568174" sldId="1453"/>
            <ac:cxnSpMk id="17" creationId="{94A9D9C6-E99D-459B-A8D9-EB7638B975CF}"/>
          </ac:cxnSpMkLst>
        </pc:cxnChg>
        <pc:cxnChg chg="mod">
          <ac:chgData name="Griffin, Rachel" userId="fcae45bf-dcdb-4a43-a8cb-7f247a985ffc" providerId="ADAL" clId="{4AFC5210-25D7-4E0C-BD67-44C22EE09731}" dt="2023-10-17T22:19:56.781" v="12509" actId="962"/>
          <ac:cxnSpMkLst>
            <pc:docMk/>
            <pc:sldMk cId="3890568174" sldId="1453"/>
            <ac:cxnSpMk id="23" creationId="{3519396F-4F38-42E1-AF3E-5B24C8D29252}"/>
          </ac:cxnSpMkLst>
        </pc:cxnChg>
        <pc:cxnChg chg="mod">
          <ac:chgData name="Griffin, Rachel" userId="fcae45bf-dcdb-4a43-a8cb-7f247a985ffc" providerId="ADAL" clId="{4AFC5210-25D7-4E0C-BD67-44C22EE09731}" dt="2023-10-17T22:19:58.420" v="12510" actId="962"/>
          <ac:cxnSpMkLst>
            <pc:docMk/>
            <pc:sldMk cId="3890568174" sldId="1453"/>
            <ac:cxnSpMk id="24" creationId="{ABA5CDDF-E5BD-41DB-A513-FB303F6BB9CE}"/>
          </ac:cxnSpMkLst>
        </pc:cxnChg>
        <pc:cxnChg chg="mod">
          <ac:chgData name="Griffin, Rachel" userId="fcae45bf-dcdb-4a43-a8cb-7f247a985ffc" providerId="ADAL" clId="{4AFC5210-25D7-4E0C-BD67-44C22EE09731}" dt="2023-10-17T22:20:00.342" v="12511" actId="962"/>
          <ac:cxnSpMkLst>
            <pc:docMk/>
            <pc:sldMk cId="3890568174" sldId="1453"/>
            <ac:cxnSpMk id="25" creationId="{9B3FC7A2-6CCF-4E53-8ED0-A69B2C925501}"/>
          </ac:cxnSpMkLst>
        </pc:cxnChg>
        <pc:cxnChg chg="mod">
          <ac:chgData name="Griffin, Rachel" userId="fcae45bf-dcdb-4a43-a8cb-7f247a985ffc" providerId="ADAL" clId="{4AFC5210-25D7-4E0C-BD67-44C22EE09731}" dt="2023-10-17T22:20:01.938" v="12512" actId="962"/>
          <ac:cxnSpMkLst>
            <pc:docMk/>
            <pc:sldMk cId="3890568174" sldId="1453"/>
            <ac:cxnSpMk id="26" creationId="{6F68DD4E-DF84-4C02-AED6-0B4DDF02DE30}"/>
          </ac:cxnSpMkLst>
        </pc:cxnChg>
      </pc:sldChg>
      <pc:sldChg chg="modSp mod">
        <pc:chgData name="Griffin, Rachel" userId="fcae45bf-dcdb-4a43-a8cb-7f247a985ffc" providerId="ADAL" clId="{4AFC5210-25D7-4E0C-BD67-44C22EE09731}" dt="2023-10-18T19:14:33.927" v="13248" actId="962"/>
        <pc:sldMkLst>
          <pc:docMk/>
          <pc:sldMk cId="2805587982" sldId="1454"/>
        </pc:sldMkLst>
        <pc:spChg chg="mod">
          <ac:chgData name="Griffin, Rachel" userId="fcae45bf-dcdb-4a43-a8cb-7f247a985ffc" providerId="ADAL" clId="{4AFC5210-25D7-4E0C-BD67-44C22EE09731}" dt="2023-10-18T19:14:33.927" v="13248" actId="962"/>
          <ac:spMkLst>
            <pc:docMk/>
            <pc:sldMk cId="2805587982" sldId="1454"/>
            <ac:spMk id="6" creationId="{7468956A-A70F-411C-9FBE-D04EB12E4936}"/>
          </ac:spMkLst>
        </pc:spChg>
        <pc:spChg chg="mod">
          <ac:chgData name="Griffin, Rachel" userId="fcae45bf-dcdb-4a43-a8cb-7f247a985ffc" providerId="ADAL" clId="{4AFC5210-25D7-4E0C-BD67-44C22EE09731}" dt="2023-10-17T22:20:37.992" v="12623" actId="962"/>
          <ac:spMkLst>
            <pc:docMk/>
            <pc:sldMk cId="2805587982" sldId="1454"/>
            <ac:spMk id="16" creationId="{C0259BCC-6844-45BC-83CA-C2FB14E227F6}"/>
          </ac:spMkLst>
        </pc:spChg>
        <pc:grpChg chg="mod">
          <ac:chgData name="Griffin, Rachel" userId="fcae45bf-dcdb-4a43-a8cb-7f247a985ffc" providerId="ADAL" clId="{4AFC5210-25D7-4E0C-BD67-44C22EE09731}" dt="2023-10-18T19:14:26.043" v="13246"/>
          <ac:grpSpMkLst>
            <pc:docMk/>
            <pc:sldMk cId="2805587982" sldId="1454"/>
            <ac:grpSpMk id="13" creationId="{BE9758CE-F5A9-424E-8900-731A003852A0}"/>
          </ac:grpSpMkLst>
        </pc:grpChg>
        <pc:picChg chg="mod">
          <ac:chgData name="Griffin, Rachel" userId="fcae45bf-dcdb-4a43-a8cb-7f247a985ffc" providerId="ADAL" clId="{4AFC5210-25D7-4E0C-BD67-44C22EE09731}" dt="2023-10-18T19:14:30.470" v="13247" actId="962"/>
          <ac:picMkLst>
            <pc:docMk/>
            <pc:sldMk cId="2805587982" sldId="1454"/>
            <ac:picMk id="3" creationId="{A7568AC0-9C6D-4184-8F3C-51C5D573CE8B}"/>
          </ac:picMkLst>
        </pc:picChg>
      </pc:sldChg>
      <pc:sldChg chg="modSp mod">
        <pc:chgData name="Griffin, Rachel" userId="fcae45bf-dcdb-4a43-a8cb-7f247a985ffc" providerId="ADAL" clId="{4AFC5210-25D7-4E0C-BD67-44C22EE09731}" dt="2023-10-18T19:14:55.486" v="13252" actId="962"/>
        <pc:sldMkLst>
          <pc:docMk/>
          <pc:sldMk cId="3292863334" sldId="1455"/>
        </pc:sldMkLst>
        <pc:spChg chg="mod">
          <ac:chgData name="Griffin, Rachel" userId="fcae45bf-dcdb-4a43-a8cb-7f247a985ffc" providerId="ADAL" clId="{4AFC5210-25D7-4E0C-BD67-44C22EE09731}" dt="2023-10-18T19:14:55.486" v="13252" actId="962"/>
          <ac:spMkLst>
            <pc:docMk/>
            <pc:sldMk cId="3292863334" sldId="1455"/>
            <ac:spMk id="11" creationId="{2E4E8559-39AF-4732-ADCD-0ED88DE61AA2}"/>
          </ac:spMkLst>
        </pc:spChg>
        <pc:spChg chg="mod">
          <ac:chgData name="Griffin, Rachel" userId="fcae45bf-dcdb-4a43-a8cb-7f247a985ffc" providerId="ADAL" clId="{4AFC5210-25D7-4E0C-BD67-44C22EE09731}" dt="2023-10-17T22:20:42.795" v="12624" actId="962"/>
          <ac:spMkLst>
            <pc:docMk/>
            <pc:sldMk cId="3292863334" sldId="1455"/>
            <ac:spMk id="16" creationId="{48CA3870-531C-444A-A757-1FE9B2BD7EC1}"/>
          </ac:spMkLst>
        </pc:spChg>
        <pc:graphicFrameChg chg="mod">
          <ac:chgData name="Griffin, Rachel" userId="fcae45bf-dcdb-4a43-a8cb-7f247a985ffc" providerId="ADAL" clId="{4AFC5210-25D7-4E0C-BD67-44C22EE09731}" dt="2023-10-17T22:22:30.264" v="12666" actId="962"/>
          <ac:graphicFrameMkLst>
            <pc:docMk/>
            <pc:sldMk cId="3292863334" sldId="1455"/>
            <ac:graphicFrameMk id="10" creationId="{39839114-7C32-4687-B952-D656339911A8}"/>
          </ac:graphicFrameMkLst>
        </pc:graphicFrameChg>
        <pc:picChg chg="mod">
          <ac:chgData name="Griffin, Rachel" userId="fcae45bf-dcdb-4a43-a8cb-7f247a985ffc" providerId="ADAL" clId="{4AFC5210-25D7-4E0C-BD67-44C22EE09731}" dt="2023-10-18T19:14:46.228" v="13250" actId="962"/>
          <ac:picMkLst>
            <pc:docMk/>
            <pc:sldMk cId="3292863334" sldId="1455"/>
            <ac:picMk id="4" creationId="{388832ED-AFD6-4F87-A0C2-8B5E7E9A20B0}"/>
          </ac:picMkLst>
        </pc:picChg>
        <pc:picChg chg="mod">
          <ac:chgData name="Griffin, Rachel" userId="fcae45bf-dcdb-4a43-a8cb-7f247a985ffc" providerId="ADAL" clId="{4AFC5210-25D7-4E0C-BD67-44C22EE09731}" dt="2023-10-18T19:14:50.904" v="13251" actId="962"/>
          <ac:picMkLst>
            <pc:docMk/>
            <pc:sldMk cId="3292863334" sldId="1455"/>
            <ac:picMk id="13" creationId="{125BF65F-16EC-4A60-92E0-C03FD66E0704}"/>
          </ac:picMkLst>
        </pc:picChg>
        <pc:cxnChg chg="mod">
          <ac:chgData name="Griffin, Rachel" userId="fcae45bf-dcdb-4a43-a8cb-7f247a985ffc" providerId="ADAL" clId="{4AFC5210-25D7-4E0C-BD67-44C22EE09731}" dt="2023-10-17T22:20:49.369" v="12625" actId="962"/>
          <ac:cxnSpMkLst>
            <pc:docMk/>
            <pc:sldMk cId="3292863334" sldId="1455"/>
            <ac:cxnSpMk id="17" creationId="{94A9D9C6-E99D-459B-A8D9-EB7638B975CF}"/>
          </ac:cxnSpMkLst>
        </pc:cxnChg>
      </pc:sldChg>
      <pc:sldChg chg="modSp mod">
        <pc:chgData name="Griffin, Rachel" userId="fcae45bf-dcdb-4a43-a8cb-7f247a985ffc" providerId="ADAL" clId="{4AFC5210-25D7-4E0C-BD67-44C22EE09731}" dt="2023-10-18T19:15:37.685" v="13260" actId="962"/>
        <pc:sldMkLst>
          <pc:docMk/>
          <pc:sldMk cId="4155909999" sldId="1456"/>
        </pc:sldMkLst>
        <pc:spChg chg="mod">
          <ac:chgData name="Griffin, Rachel" userId="fcae45bf-dcdb-4a43-a8cb-7f247a985ffc" providerId="ADAL" clId="{4AFC5210-25D7-4E0C-BD67-44C22EE09731}" dt="2023-10-18T19:15:21.787" v="13257" actId="962"/>
          <ac:spMkLst>
            <pc:docMk/>
            <pc:sldMk cId="4155909999" sldId="1456"/>
            <ac:spMk id="11" creationId="{E2A65396-B612-4BAB-8478-62CB73A39048}"/>
          </ac:spMkLst>
        </pc:spChg>
        <pc:spChg chg="mod">
          <ac:chgData name="Griffin, Rachel" userId="fcae45bf-dcdb-4a43-a8cb-7f247a985ffc" providerId="ADAL" clId="{4AFC5210-25D7-4E0C-BD67-44C22EE09731}" dt="2023-10-18T19:15:00.896" v="13253" actId="962"/>
          <ac:spMkLst>
            <pc:docMk/>
            <pc:sldMk cId="4155909999" sldId="1456"/>
            <ac:spMk id="16" creationId="{48CA3870-531C-444A-A757-1FE9B2BD7EC1}"/>
          </ac:spMkLst>
        </pc:spChg>
        <pc:graphicFrameChg chg="mod">
          <ac:chgData name="Griffin, Rachel" userId="fcae45bf-dcdb-4a43-a8cb-7f247a985ffc" providerId="ADAL" clId="{4AFC5210-25D7-4E0C-BD67-44C22EE09731}" dt="2023-10-18T19:15:37.685" v="13260" actId="962"/>
          <ac:graphicFrameMkLst>
            <pc:docMk/>
            <pc:sldMk cId="4155909999" sldId="1456"/>
            <ac:graphicFrameMk id="10" creationId="{39839114-7C32-4687-B952-D656339911A8}"/>
          </ac:graphicFrameMkLst>
        </pc:graphicFrameChg>
        <pc:picChg chg="mod">
          <ac:chgData name="Griffin, Rachel" userId="fcae45bf-dcdb-4a43-a8cb-7f247a985ffc" providerId="ADAL" clId="{4AFC5210-25D7-4E0C-BD67-44C22EE09731}" dt="2023-10-18T19:15:06.494" v="13254" actId="962"/>
          <ac:picMkLst>
            <pc:docMk/>
            <pc:sldMk cId="4155909999" sldId="1456"/>
            <ac:picMk id="4" creationId="{388832ED-AFD6-4F87-A0C2-8B5E7E9A20B0}"/>
          </ac:picMkLst>
        </pc:picChg>
        <pc:picChg chg="mod">
          <ac:chgData name="Griffin, Rachel" userId="fcae45bf-dcdb-4a43-a8cb-7f247a985ffc" providerId="ADAL" clId="{4AFC5210-25D7-4E0C-BD67-44C22EE09731}" dt="2023-10-18T19:15:15.123" v="13256" actId="962"/>
          <ac:picMkLst>
            <pc:docMk/>
            <pc:sldMk cId="4155909999" sldId="1456"/>
            <ac:picMk id="5" creationId="{A09074C2-2CDD-4084-9E14-65AF5CCD0330}"/>
          </ac:picMkLst>
        </pc:picChg>
        <pc:cxnChg chg="mod">
          <ac:chgData name="Griffin, Rachel" userId="fcae45bf-dcdb-4a43-a8cb-7f247a985ffc" providerId="ADAL" clId="{4AFC5210-25D7-4E0C-BD67-44C22EE09731}" dt="2023-10-17T22:20:52.845" v="12626" actId="962"/>
          <ac:cxnSpMkLst>
            <pc:docMk/>
            <pc:sldMk cId="4155909999" sldId="1456"/>
            <ac:cxnSpMk id="17" creationId="{94A9D9C6-E99D-459B-A8D9-EB7638B975CF}"/>
          </ac:cxnSpMkLst>
        </pc:cxnChg>
      </pc:sldChg>
      <pc:sldChg chg="modSp mod">
        <pc:chgData name="Griffin, Rachel" userId="fcae45bf-dcdb-4a43-a8cb-7f247a985ffc" providerId="ADAL" clId="{4AFC5210-25D7-4E0C-BD67-44C22EE09731}" dt="2023-10-18T19:16:38.444" v="13266" actId="962"/>
        <pc:sldMkLst>
          <pc:docMk/>
          <pc:sldMk cId="4264789495" sldId="1457"/>
        </pc:sldMkLst>
        <pc:spChg chg="mod">
          <ac:chgData name="Griffin, Rachel" userId="fcae45bf-dcdb-4a43-a8cb-7f247a985ffc" providerId="ADAL" clId="{4AFC5210-25D7-4E0C-BD67-44C22EE09731}" dt="2023-10-18T19:16:38.444" v="13266" actId="962"/>
          <ac:spMkLst>
            <pc:docMk/>
            <pc:sldMk cId="4264789495" sldId="1457"/>
            <ac:spMk id="11" creationId="{07446A64-BBEC-4C37-A5C2-E26D3E6031FA}"/>
          </ac:spMkLst>
        </pc:spChg>
        <pc:spChg chg="mod">
          <ac:chgData name="Griffin, Rachel" userId="fcae45bf-dcdb-4a43-a8cb-7f247a985ffc" providerId="ADAL" clId="{4AFC5210-25D7-4E0C-BD67-44C22EE09731}" dt="2023-10-17T22:23:40.431" v="12800" actId="962"/>
          <ac:spMkLst>
            <pc:docMk/>
            <pc:sldMk cId="4264789495" sldId="1457"/>
            <ac:spMk id="16" creationId="{48CA3870-531C-444A-A757-1FE9B2BD7EC1}"/>
          </ac:spMkLst>
        </pc:spChg>
        <pc:graphicFrameChg chg="mod">
          <ac:chgData name="Griffin, Rachel" userId="fcae45bf-dcdb-4a43-a8cb-7f247a985ffc" providerId="ADAL" clId="{4AFC5210-25D7-4E0C-BD67-44C22EE09731}" dt="2023-10-18T19:16:32.459" v="13264" actId="962"/>
          <ac:graphicFrameMkLst>
            <pc:docMk/>
            <pc:sldMk cId="4264789495" sldId="1457"/>
            <ac:graphicFrameMk id="10" creationId="{39839114-7C32-4687-B952-D656339911A8}"/>
          </ac:graphicFrameMkLst>
        </pc:graphicFrameChg>
        <pc:picChg chg="mod">
          <ac:chgData name="Griffin, Rachel" userId="fcae45bf-dcdb-4a43-a8cb-7f247a985ffc" providerId="ADAL" clId="{4AFC5210-25D7-4E0C-BD67-44C22EE09731}" dt="2023-10-18T19:16:18.828" v="13261" actId="962"/>
          <ac:picMkLst>
            <pc:docMk/>
            <pc:sldMk cId="4264789495" sldId="1457"/>
            <ac:picMk id="4" creationId="{388832ED-AFD6-4F87-A0C2-8B5E7E9A20B0}"/>
          </ac:picMkLst>
        </pc:picChg>
        <pc:picChg chg="mod">
          <ac:chgData name="Griffin, Rachel" userId="fcae45bf-dcdb-4a43-a8cb-7f247a985ffc" providerId="ADAL" clId="{4AFC5210-25D7-4E0C-BD67-44C22EE09731}" dt="2023-10-18T19:16:36.502" v="13265" actId="962"/>
          <ac:picMkLst>
            <pc:docMk/>
            <pc:sldMk cId="4264789495" sldId="1457"/>
            <ac:picMk id="6" creationId="{B0D402F3-5AA1-45CA-AAF7-29B0D09915A9}"/>
          </ac:picMkLst>
        </pc:picChg>
        <pc:cxnChg chg="mod">
          <ac:chgData name="Griffin, Rachel" userId="fcae45bf-dcdb-4a43-a8cb-7f247a985ffc" providerId="ADAL" clId="{4AFC5210-25D7-4E0C-BD67-44C22EE09731}" dt="2023-10-17T22:23:42.694" v="12801" actId="962"/>
          <ac:cxnSpMkLst>
            <pc:docMk/>
            <pc:sldMk cId="4264789495" sldId="1457"/>
            <ac:cxnSpMk id="17" creationId="{94A9D9C6-E99D-459B-A8D9-EB7638B975CF}"/>
          </ac:cxnSpMkLst>
        </pc:cxnChg>
      </pc:sldChg>
      <pc:sldChg chg="modSp mod">
        <pc:chgData name="Griffin, Rachel" userId="fcae45bf-dcdb-4a43-a8cb-7f247a985ffc" providerId="ADAL" clId="{4AFC5210-25D7-4E0C-BD67-44C22EE09731}" dt="2023-10-18T19:17:23.304" v="13278" actId="962"/>
        <pc:sldMkLst>
          <pc:docMk/>
          <pc:sldMk cId="1506332015" sldId="1458"/>
        </pc:sldMkLst>
        <pc:spChg chg="mod">
          <ac:chgData name="Griffin, Rachel" userId="fcae45bf-dcdb-4a43-a8cb-7f247a985ffc" providerId="ADAL" clId="{4AFC5210-25D7-4E0C-BD67-44C22EE09731}" dt="2023-10-18T19:16:48.122" v="13267"/>
          <ac:spMkLst>
            <pc:docMk/>
            <pc:sldMk cId="1506332015" sldId="1458"/>
            <ac:spMk id="2" creationId="{72F37DFB-2510-48E2-ACF5-75BF46D93E1A}"/>
          </ac:spMkLst>
        </pc:spChg>
        <pc:spChg chg="mod">
          <ac:chgData name="Griffin, Rachel" userId="fcae45bf-dcdb-4a43-a8cb-7f247a985ffc" providerId="ADAL" clId="{4AFC5210-25D7-4E0C-BD67-44C22EE09731}" dt="2023-10-18T19:17:23.304" v="13278" actId="962"/>
          <ac:spMkLst>
            <pc:docMk/>
            <pc:sldMk cId="1506332015" sldId="1458"/>
            <ac:spMk id="11" creationId="{ED89FCCC-1AD8-4F0D-B068-78659DCB2F49}"/>
          </ac:spMkLst>
        </pc:spChg>
        <pc:spChg chg="mod">
          <ac:chgData name="Griffin, Rachel" userId="fcae45bf-dcdb-4a43-a8cb-7f247a985ffc" providerId="ADAL" clId="{4AFC5210-25D7-4E0C-BD67-44C22EE09731}" dt="2023-10-18T19:17:17.183" v="13276" actId="962"/>
          <ac:spMkLst>
            <pc:docMk/>
            <pc:sldMk cId="1506332015" sldId="1458"/>
            <ac:spMk id="16" creationId="{48CA3870-531C-444A-A757-1FE9B2BD7EC1}"/>
          </ac:spMkLst>
        </pc:spChg>
        <pc:graphicFrameChg chg="mod">
          <ac:chgData name="Griffin, Rachel" userId="fcae45bf-dcdb-4a43-a8cb-7f247a985ffc" providerId="ADAL" clId="{4AFC5210-25D7-4E0C-BD67-44C22EE09731}" dt="2023-10-18T19:17:09.577" v="13275"/>
          <ac:graphicFrameMkLst>
            <pc:docMk/>
            <pc:sldMk cId="1506332015" sldId="1458"/>
            <ac:graphicFrameMk id="10" creationId="{39839114-7C32-4687-B952-D656339911A8}"/>
          </ac:graphicFrameMkLst>
        </pc:graphicFrameChg>
        <pc:picChg chg="mod">
          <ac:chgData name="Griffin, Rachel" userId="fcae45bf-dcdb-4a43-a8cb-7f247a985ffc" providerId="ADAL" clId="{4AFC5210-25D7-4E0C-BD67-44C22EE09731}" dt="2023-10-18T19:16:58.268" v="13268" actId="962"/>
          <ac:picMkLst>
            <pc:docMk/>
            <pc:sldMk cId="1506332015" sldId="1458"/>
            <ac:picMk id="4" creationId="{388832ED-AFD6-4F87-A0C2-8B5E7E9A20B0}"/>
          </ac:picMkLst>
        </pc:picChg>
        <pc:picChg chg="mod">
          <ac:chgData name="Griffin, Rachel" userId="fcae45bf-dcdb-4a43-a8cb-7f247a985ffc" providerId="ADAL" clId="{4AFC5210-25D7-4E0C-BD67-44C22EE09731}" dt="2023-10-18T19:17:21.644" v="13277" actId="962"/>
          <ac:picMkLst>
            <pc:docMk/>
            <pc:sldMk cId="1506332015" sldId="1458"/>
            <ac:picMk id="5" creationId="{580FF37F-DFC6-444C-85A5-F5EA4C8E36FD}"/>
          </ac:picMkLst>
        </pc:picChg>
        <pc:cxnChg chg="mod">
          <ac:chgData name="Griffin, Rachel" userId="fcae45bf-dcdb-4a43-a8cb-7f247a985ffc" providerId="ADAL" clId="{4AFC5210-25D7-4E0C-BD67-44C22EE09731}" dt="2023-10-17T22:24:19.534" v="12957" actId="962"/>
          <ac:cxnSpMkLst>
            <pc:docMk/>
            <pc:sldMk cId="1506332015" sldId="1458"/>
            <ac:cxnSpMk id="17" creationId="{94A9D9C6-E99D-459B-A8D9-EB7638B975CF}"/>
          </ac:cxnSpMkLst>
        </pc:cxnChg>
      </pc:sldChg>
      <pc:sldChg chg="modSp">
        <pc:chgData name="Griffin, Rachel" userId="fcae45bf-dcdb-4a43-a8cb-7f247a985ffc" providerId="ADAL" clId="{4AFC5210-25D7-4E0C-BD67-44C22EE09731}" dt="2023-10-17T22:35:50.003" v="13045" actId="962"/>
        <pc:sldMkLst>
          <pc:docMk/>
          <pc:sldMk cId="3915582401" sldId="1460"/>
        </pc:sldMkLst>
        <pc:spChg chg="mod">
          <ac:chgData name="Griffin, Rachel" userId="fcae45bf-dcdb-4a43-a8cb-7f247a985ffc" providerId="ADAL" clId="{4AFC5210-25D7-4E0C-BD67-44C22EE09731}" dt="2023-10-17T22:35:50.003" v="13045" actId="962"/>
          <ac:spMkLst>
            <pc:docMk/>
            <pc:sldMk cId="3915582401" sldId="1460"/>
            <ac:spMk id="7" creationId="{20C99852-2B91-4501-A464-E23740E07197}"/>
          </ac:spMkLst>
        </pc:spChg>
        <pc:spChg chg="mod">
          <ac:chgData name="Griffin, Rachel" userId="fcae45bf-dcdb-4a43-a8cb-7f247a985ffc" providerId="ADAL" clId="{4AFC5210-25D7-4E0C-BD67-44C22EE09731}" dt="2023-10-17T22:35:48.033" v="13044"/>
          <ac:spMkLst>
            <pc:docMk/>
            <pc:sldMk cId="3915582401" sldId="1460"/>
            <ac:spMk id="11" creationId="{A9C289AB-5955-4E37-A1C3-532ADF791538}"/>
          </ac:spMkLst>
        </pc:spChg>
        <pc:picChg chg="mod">
          <ac:chgData name="Griffin, Rachel" userId="fcae45bf-dcdb-4a43-a8cb-7f247a985ffc" providerId="ADAL" clId="{4AFC5210-25D7-4E0C-BD67-44C22EE09731}" dt="2023-10-17T22:35:44.078" v="13042" actId="962"/>
          <ac:picMkLst>
            <pc:docMk/>
            <pc:sldMk cId="3915582401" sldId="1460"/>
            <ac:picMk id="10" creationId="{F782B5C7-F9A5-43C1-B292-2730F9A27998}"/>
          </ac:picMkLst>
        </pc:picChg>
      </pc:sldChg>
      <pc:sldChg chg="modSp">
        <pc:chgData name="Griffin, Rachel" userId="fcae45bf-dcdb-4a43-a8cb-7f247a985ffc" providerId="ADAL" clId="{4AFC5210-25D7-4E0C-BD67-44C22EE09731}" dt="2023-10-17T22:36:00.636" v="13047" actId="962"/>
        <pc:sldMkLst>
          <pc:docMk/>
          <pc:sldMk cId="3459210906" sldId="1461"/>
        </pc:sldMkLst>
        <pc:spChg chg="mod">
          <ac:chgData name="Griffin, Rachel" userId="fcae45bf-dcdb-4a43-a8cb-7f247a985ffc" providerId="ADAL" clId="{4AFC5210-25D7-4E0C-BD67-44C22EE09731}" dt="2023-10-17T22:36:00.636" v="13047" actId="962"/>
          <ac:spMkLst>
            <pc:docMk/>
            <pc:sldMk cId="3459210906" sldId="1461"/>
            <ac:spMk id="6" creationId="{F9BD5D5F-25DD-4B32-803C-EDBA53349DC2}"/>
          </ac:spMkLst>
        </pc:spChg>
        <pc:picChg chg="mod">
          <ac:chgData name="Griffin, Rachel" userId="fcae45bf-dcdb-4a43-a8cb-7f247a985ffc" providerId="ADAL" clId="{4AFC5210-25D7-4E0C-BD67-44C22EE09731}" dt="2023-10-17T22:35:59.873" v="13046" actId="962"/>
          <ac:picMkLst>
            <pc:docMk/>
            <pc:sldMk cId="3459210906" sldId="1461"/>
            <ac:picMk id="14" creationId="{DA280776-8015-4B99-A7E5-8753EDC5297E}"/>
          </ac:picMkLst>
        </pc:picChg>
      </pc:sldChg>
      <pc:sldChg chg="modSp">
        <pc:chgData name="Griffin, Rachel" userId="fcae45bf-dcdb-4a43-a8cb-7f247a985ffc" providerId="ADAL" clId="{4AFC5210-25D7-4E0C-BD67-44C22EE09731}" dt="2023-10-17T22:36:16.714" v="13049" actId="962"/>
        <pc:sldMkLst>
          <pc:docMk/>
          <pc:sldMk cId="2530408343" sldId="1462"/>
        </pc:sldMkLst>
        <pc:spChg chg="mod">
          <ac:chgData name="Griffin, Rachel" userId="fcae45bf-dcdb-4a43-a8cb-7f247a985ffc" providerId="ADAL" clId="{4AFC5210-25D7-4E0C-BD67-44C22EE09731}" dt="2023-10-17T22:36:16.714" v="13049" actId="962"/>
          <ac:spMkLst>
            <pc:docMk/>
            <pc:sldMk cId="2530408343" sldId="1462"/>
            <ac:spMk id="7" creationId="{7BB356A3-4BE5-407E-A38F-34AE5F928015}"/>
          </ac:spMkLst>
        </pc:spChg>
        <pc:picChg chg="mod">
          <ac:chgData name="Griffin, Rachel" userId="fcae45bf-dcdb-4a43-a8cb-7f247a985ffc" providerId="ADAL" clId="{4AFC5210-25D7-4E0C-BD67-44C22EE09731}" dt="2023-10-17T22:36:13.320" v="13048" actId="962"/>
          <ac:picMkLst>
            <pc:docMk/>
            <pc:sldMk cId="2530408343" sldId="1462"/>
            <ac:picMk id="6" creationId="{FEC11A8A-BCA9-415E-80A4-135C41A13C5B}"/>
          </ac:picMkLst>
        </pc:picChg>
      </pc:sldChg>
      <pc:sldChg chg="modSp delCm">
        <pc:chgData name="Griffin, Rachel" userId="fcae45bf-dcdb-4a43-a8cb-7f247a985ffc" providerId="ADAL" clId="{4AFC5210-25D7-4E0C-BD67-44C22EE09731}" dt="2023-10-17T22:45:09.265" v="13051" actId="962"/>
        <pc:sldMkLst>
          <pc:docMk/>
          <pc:sldMk cId="568398245" sldId="1463"/>
        </pc:sldMkLst>
        <pc:spChg chg="mod">
          <ac:chgData name="Griffin, Rachel" userId="fcae45bf-dcdb-4a43-a8cb-7f247a985ffc" providerId="ADAL" clId="{4AFC5210-25D7-4E0C-BD67-44C22EE09731}" dt="2023-10-17T22:45:09.265" v="13051" actId="962"/>
          <ac:spMkLst>
            <pc:docMk/>
            <pc:sldMk cId="568398245" sldId="1463"/>
            <ac:spMk id="6" creationId="{A3390CA3-40DA-4381-85F8-4131DEF34DBE}"/>
          </ac:spMkLst>
        </pc:spChg>
        <pc:picChg chg="mod">
          <ac:chgData name="Griffin, Rachel" userId="fcae45bf-dcdb-4a43-a8cb-7f247a985ffc" providerId="ADAL" clId="{4AFC5210-25D7-4E0C-BD67-44C22EE09731}" dt="2023-10-17T22:45:08.155" v="13050" actId="962"/>
          <ac:picMkLst>
            <pc:docMk/>
            <pc:sldMk cId="568398245" sldId="1463"/>
            <ac:picMk id="14" creationId="{E91267CE-DD42-4497-9B65-8122C238A636}"/>
          </ac:picMkLst>
        </pc:picChg>
      </pc:sldChg>
      <pc:sldChg chg="modSp mod">
        <pc:chgData name="Griffin, Rachel" userId="fcae45bf-dcdb-4a43-a8cb-7f247a985ffc" providerId="ADAL" clId="{4AFC5210-25D7-4E0C-BD67-44C22EE09731}" dt="2023-10-18T17:08:27.874" v="13147" actId="962"/>
        <pc:sldMkLst>
          <pc:docMk/>
          <pc:sldMk cId="2776432648" sldId="1468"/>
        </pc:sldMkLst>
        <pc:spChg chg="mod">
          <ac:chgData name="Griffin, Rachel" userId="fcae45bf-dcdb-4a43-a8cb-7f247a985ffc" providerId="ADAL" clId="{4AFC5210-25D7-4E0C-BD67-44C22EE09731}" dt="2023-10-18T17:08:27.874" v="13147" actId="962"/>
          <ac:spMkLst>
            <pc:docMk/>
            <pc:sldMk cId="2776432648" sldId="1468"/>
            <ac:spMk id="14" creationId="{A76013A3-9CAA-4640-9A1F-BE95ADC4BA3C}"/>
          </ac:spMkLst>
        </pc:spChg>
        <pc:graphicFrameChg chg="mod">
          <ac:chgData name="Griffin, Rachel" userId="fcae45bf-dcdb-4a43-a8cb-7f247a985ffc" providerId="ADAL" clId="{4AFC5210-25D7-4E0C-BD67-44C22EE09731}" dt="2023-10-17T15:39:31.011" v="10580" actId="962"/>
          <ac:graphicFrameMkLst>
            <pc:docMk/>
            <pc:sldMk cId="2776432648" sldId="1468"/>
            <ac:graphicFrameMk id="6" creationId="{BFA91BEA-1134-43A4-B543-CA11E86186CC}"/>
          </ac:graphicFrameMkLst>
        </pc:graphicFrameChg>
        <pc:picChg chg="mod">
          <ac:chgData name="Griffin, Rachel" userId="fcae45bf-dcdb-4a43-a8cb-7f247a985ffc" providerId="ADAL" clId="{4AFC5210-25D7-4E0C-BD67-44C22EE09731}" dt="2023-10-18T17:08:27.192" v="13146" actId="962"/>
          <ac:picMkLst>
            <pc:docMk/>
            <pc:sldMk cId="2776432648" sldId="1468"/>
            <ac:picMk id="3" creationId="{87190EC6-6CC0-43AB-8338-9671E31DF1AF}"/>
          </ac:picMkLst>
        </pc:picChg>
        <pc:picChg chg="mod">
          <ac:chgData name="Griffin, Rachel" userId="fcae45bf-dcdb-4a43-a8cb-7f247a985ffc" providerId="ADAL" clId="{4AFC5210-25D7-4E0C-BD67-44C22EE09731}" dt="2023-10-18T17:08:26.096" v="13145" actId="962"/>
          <ac:picMkLst>
            <pc:docMk/>
            <pc:sldMk cId="2776432648" sldId="1468"/>
            <ac:picMk id="12" creationId="{0BCFF393-AAB0-4327-9A6F-FF59D1651567}"/>
          </ac:picMkLst>
        </pc:picChg>
        <pc:cxnChg chg="mod">
          <ac:chgData name="Griffin, Rachel" userId="fcae45bf-dcdb-4a43-a8cb-7f247a985ffc" providerId="ADAL" clId="{4AFC5210-25D7-4E0C-BD67-44C22EE09731}" dt="2023-10-17T15:37:23.929" v="10009" actId="962"/>
          <ac:cxnSpMkLst>
            <pc:docMk/>
            <pc:sldMk cId="2776432648" sldId="1468"/>
            <ac:cxnSpMk id="17" creationId="{94A9D9C6-E99D-459B-A8D9-EB7638B975CF}"/>
          </ac:cxnSpMkLst>
        </pc:cxnChg>
      </pc:sldChg>
      <pc:sldChg chg="modSp mod">
        <pc:chgData name="Griffin, Rachel" userId="fcae45bf-dcdb-4a43-a8cb-7f247a985ffc" providerId="ADAL" clId="{4AFC5210-25D7-4E0C-BD67-44C22EE09731}" dt="2023-10-17T22:33:33.530" v="13028"/>
        <pc:sldMkLst>
          <pc:docMk/>
          <pc:sldMk cId="2708838314" sldId="1469"/>
        </pc:sldMkLst>
        <pc:spChg chg="mod">
          <ac:chgData name="Griffin, Rachel" userId="fcae45bf-dcdb-4a43-a8cb-7f247a985ffc" providerId="ADAL" clId="{4AFC5210-25D7-4E0C-BD67-44C22EE09731}" dt="2023-10-17T22:33:33.530" v="13028"/>
          <ac:spMkLst>
            <pc:docMk/>
            <pc:sldMk cId="2708838314" sldId="1469"/>
            <ac:spMk id="3" creationId="{57087CCB-1ED9-03E3-7D14-12DD5F1B57DF}"/>
          </ac:spMkLst>
        </pc:spChg>
        <pc:spChg chg="mod">
          <ac:chgData name="Griffin, Rachel" userId="fcae45bf-dcdb-4a43-a8cb-7f247a985ffc" providerId="ADAL" clId="{4AFC5210-25D7-4E0C-BD67-44C22EE09731}" dt="2023-10-17T22:33:26.407" v="13026" actId="962"/>
          <ac:spMkLst>
            <pc:docMk/>
            <pc:sldMk cId="2708838314" sldId="1469"/>
            <ac:spMk id="5" creationId="{F50FFE61-9CA2-43CD-92C6-9199F1A5E9A7}"/>
          </ac:spMkLst>
        </pc:spChg>
        <pc:graphicFrameChg chg="mod modGraphic">
          <ac:chgData name="Griffin, Rachel" userId="fcae45bf-dcdb-4a43-a8cb-7f247a985ffc" providerId="ADAL" clId="{4AFC5210-25D7-4E0C-BD67-44C22EE09731}" dt="2023-10-17T15:33:46.726" v="9538" actId="1076"/>
          <ac:graphicFrameMkLst>
            <pc:docMk/>
            <pc:sldMk cId="2708838314" sldId="1469"/>
            <ac:graphicFrameMk id="11" creationId="{4108F907-1D8E-41A3-A1B4-34A158F1F634}"/>
          </ac:graphicFrameMkLst>
        </pc:graphicFrameChg>
      </pc:sldChg>
      <pc:sldChg chg="modSp mod">
        <pc:chgData name="Griffin, Rachel" userId="fcae45bf-dcdb-4a43-a8cb-7f247a985ffc" providerId="ADAL" clId="{4AFC5210-25D7-4E0C-BD67-44C22EE09731}" dt="2023-10-17T22:34:16.969" v="13039"/>
        <pc:sldMkLst>
          <pc:docMk/>
          <pc:sldMk cId="137487859" sldId="1470"/>
        </pc:sldMkLst>
        <pc:spChg chg="mod">
          <ac:chgData name="Griffin, Rachel" userId="fcae45bf-dcdb-4a43-a8cb-7f247a985ffc" providerId="ADAL" clId="{4AFC5210-25D7-4E0C-BD67-44C22EE09731}" dt="2023-10-17T22:33:40.084" v="13029" actId="962"/>
          <ac:spMkLst>
            <pc:docMk/>
            <pc:sldMk cId="137487859" sldId="1470"/>
            <ac:spMk id="5" creationId="{7710866B-BF25-4046-B35C-CEAE91CD4D09}"/>
          </ac:spMkLst>
        </pc:spChg>
        <pc:spChg chg="mod">
          <ac:chgData name="Griffin, Rachel" userId="fcae45bf-dcdb-4a43-a8cb-7f247a985ffc" providerId="ADAL" clId="{4AFC5210-25D7-4E0C-BD67-44C22EE09731}" dt="2023-10-17T22:34:13.492" v="13035" actId="962"/>
          <ac:spMkLst>
            <pc:docMk/>
            <pc:sldMk cId="137487859" sldId="1470"/>
            <ac:spMk id="25" creationId="{5756CD83-9C81-1F99-60E9-53C19ECDB5C0}"/>
          </ac:spMkLst>
        </pc:spChg>
        <pc:grpChg chg="mod">
          <ac:chgData name="Griffin, Rachel" userId="fcae45bf-dcdb-4a43-a8cb-7f247a985ffc" providerId="ADAL" clId="{4AFC5210-25D7-4E0C-BD67-44C22EE09731}" dt="2023-10-17T22:34:16.969" v="13039"/>
          <ac:grpSpMkLst>
            <pc:docMk/>
            <pc:sldMk cId="137487859" sldId="1470"/>
            <ac:grpSpMk id="10" creationId="{FBCAA289-3818-0779-7C61-B23F425E025F}"/>
          </ac:grpSpMkLst>
        </pc:grpChg>
        <pc:graphicFrameChg chg="modGraphic">
          <ac:chgData name="Griffin, Rachel" userId="fcae45bf-dcdb-4a43-a8cb-7f247a985ffc" providerId="ADAL" clId="{4AFC5210-25D7-4E0C-BD67-44C22EE09731}" dt="2023-10-16T19:08:15.208" v="8575" actId="20577"/>
          <ac:graphicFrameMkLst>
            <pc:docMk/>
            <pc:sldMk cId="137487859" sldId="1470"/>
            <ac:graphicFrameMk id="6" creationId="{C6822B12-ABDB-ED88-37F9-2B29BDE27DE1}"/>
          </ac:graphicFrameMkLst>
        </pc:graphicFrameChg>
      </pc:sldChg>
      <pc:sldChg chg="modSp mod">
        <pc:chgData name="Griffin, Rachel" userId="fcae45bf-dcdb-4a43-a8cb-7f247a985ffc" providerId="ADAL" clId="{4AFC5210-25D7-4E0C-BD67-44C22EE09731}" dt="2023-10-18T17:08:21.854" v="13144" actId="962"/>
        <pc:sldMkLst>
          <pc:docMk/>
          <pc:sldMk cId="3959246293" sldId="1475"/>
        </pc:sldMkLst>
        <pc:spChg chg="mod">
          <ac:chgData name="Griffin, Rachel" userId="fcae45bf-dcdb-4a43-a8cb-7f247a985ffc" providerId="ADAL" clId="{4AFC5210-25D7-4E0C-BD67-44C22EE09731}" dt="2023-10-18T17:08:21.008" v="13143" actId="962"/>
          <ac:spMkLst>
            <pc:docMk/>
            <pc:sldMk cId="3959246293" sldId="1475"/>
            <ac:spMk id="3" creationId="{9C01F177-C68D-4671-B948-E21FEBC667E2}"/>
          </ac:spMkLst>
        </pc:spChg>
        <pc:spChg chg="mod">
          <ac:chgData name="Griffin, Rachel" userId="fcae45bf-dcdb-4a43-a8cb-7f247a985ffc" providerId="ADAL" clId="{4AFC5210-25D7-4E0C-BD67-44C22EE09731}" dt="2023-10-18T17:08:21.854" v="13144" actId="962"/>
          <ac:spMkLst>
            <pc:docMk/>
            <pc:sldMk cId="3959246293" sldId="1475"/>
            <ac:spMk id="11" creationId="{9AF9D909-FD02-4257-8C47-E49C8EBA3F88}"/>
          </ac:spMkLst>
        </pc:spChg>
        <pc:graphicFrameChg chg="mod">
          <ac:chgData name="Griffin, Rachel" userId="fcae45bf-dcdb-4a43-a8cb-7f247a985ffc" providerId="ADAL" clId="{4AFC5210-25D7-4E0C-BD67-44C22EE09731}" dt="2023-10-17T15:39:06.252" v="10442" actId="962"/>
          <ac:graphicFrameMkLst>
            <pc:docMk/>
            <pc:sldMk cId="3959246293" sldId="1475"/>
            <ac:graphicFrameMk id="6" creationId="{BFA91BEA-1134-43A4-B543-CA11E86186CC}"/>
          </ac:graphicFrameMkLst>
        </pc:graphicFrameChg>
        <pc:picChg chg="mod">
          <ac:chgData name="Griffin, Rachel" userId="fcae45bf-dcdb-4a43-a8cb-7f247a985ffc" providerId="ADAL" clId="{4AFC5210-25D7-4E0C-BD67-44C22EE09731}" dt="2023-10-18T17:08:20.218" v="13142" actId="962"/>
          <ac:picMkLst>
            <pc:docMk/>
            <pc:sldMk cId="3959246293" sldId="1475"/>
            <ac:picMk id="4" creationId="{0A68F2BD-3E82-4F17-A763-CF695BBEC1E8}"/>
          </ac:picMkLst>
        </pc:picChg>
        <pc:picChg chg="mod">
          <ac:chgData name="Griffin, Rachel" userId="fcae45bf-dcdb-4a43-a8cb-7f247a985ffc" providerId="ADAL" clId="{4AFC5210-25D7-4E0C-BD67-44C22EE09731}" dt="2023-10-18T17:08:13.045" v="13141" actId="962"/>
          <ac:picMkLst>
            <pc:docMk/>
            <pc:sldMk cId="3959246293" sldId="1475"/>
            <ac:picMk id="12" creationId="{0BCFF393-AAB0-4327-9A6F-FF59D1651567}"/>
          </ac:picMkLst>
        </pc:picChg>
        <pc:cxnChg chg="mod">
          <ac:chgData name="Griffin, Rachel" userId="fcae45bf-dcdb-4a43-a8cb-7f247a985ffc" providerId="ADAL" clId="{4AFC5210-25D7-4E0C-BD67-44C22EE09731}" dt="2023-10-17T15:37:21.877" v="10008" actId="962"/>
          <ac:cxnSpMkLst>
            <pc:docMk/>
            <pc:sldMk cId="3959246293" sldId="1475"/>
            <ac:cxnSpMk id="17" creationId="{94A9D9C6-E99D-459B-A8D9-EB7638B975CF}"/>
          </ac:cxnSpMkLst>
        </pc:cxnChg>
      </pc:sldChg>
      <pc:sldChg chg="modSp mod">
        <pc:chgData name="Griffin, Rachel" userId="fcae45bf-dcdb-4a43-a8cb-7f247a985ffc" providerId="ADAL" clId="{4AFC5210-25D7-4E0C-BD67-44C22EE09731}" dt="2023-10-18T17:08:33.989" v="13151" actId="962"/>
        <pc:sldMkLst>
          <pc:docMk/>
          <pc:sldMk cId="4001846917" sldId="1476"/>
        </pc:sldMkLst>
        <pc:spChg chg="mod">
          <ac:chgData name="Griffin, Rachel" userId="fcae45bf-dcdb-4a43-a8cb-7f247a985ffc" providerId="ADAL" clId="{4AFC5210-25D7-4E0C-BD67-44C22EE09731}" dt="2023-10-18T17:08:32.879" v="13149" actId="962"/>
          <ac:spMkLst>
            <pc:docMk/>
            <pc:sldMk cId="4001846917" sldId="1476"/>
            <ac:spMk id="8" creationId="{A1E18246-6013-4CA8-A8D3-50941B3F1109}"/>
          </ac:spMkLst>
        </pc:spChg>
        <pc:spChg chg="mod">
          <ac:chgData name="Griffin, Rachel" userId="fcae45bf-dcdb-4a43-a8cb-7f247a985ffc" providerId="ADAL" clId="{4AFC5210-25D7-4E0C-BD67-44C22EE09731}" dt="2023-10-18T17:08:33.989" v="13151" actId="962"/>
          <ac:spMkLst>
            <pc:docMk/>
            <pc:sldMk cId="4001846917" sldId="1476"/>
            <ac:spMk id="13" creationId="{97DC027D-8F75-446D-92EB-4400414EFD86}"/>
          </ac:spMkLst>
        </pc:spChg>
        <pc:graphicFrameChg chg="mod">
          <ac:chgData name="Griffin, Rachel" userId="fcae45bf-dcdb-4a43-a8cb-7f247a985ffc" providerId="ADAL" clId="{4AFC5210-25D7-4E0C-BD67-44C22EE09731}" dt="2023-10-17T15:40:03.153" v="10698" actId="962"/>
          <ac:graphicFrameMkLst>
            <pc:docMk/>
            <pc:sldMk cId="4001846917" sldId="1476"/>
            <ac:graphicFrameMk id="6" creationId="{BFA91BEA-1134-43A4-B543-CA11E86186CC}"/>
          </ac:graphicFrameMkLst>
        </pc:graphicFrameChg>
        <pc:picChg chg="mod">
          <ac:chgData name="Griffin, Rachel" userId="fcae45bf-dcdb-4a43-a8cb-7f247a985ffc" providerId="ADAL" clId="{4AFC5210-25D7-4E0C-BD67-44C22EE09731}" dt="2023-10-18T17:08:33.516" v="13150" actId="962"/>
          <ac:picMkLst>
            <pc:docMk/>
            <pc:sldMk cId="4001846917" sldId="1476"/>
            <ac:picMk id="3" creationId="{C44C6577-11A0-40BF-A185-EA88442064B0}"/>
          </ac:picMkLst>
        </pc:picChg>
        <pc:picChg chg="mod">
          <ac:chgData name="Griffin, Rachel" userId="fcae45bf-dcdb-4a43-a8cb-7f247a985ffc" providerId="ADAL" clId="{4AFC5210-25D7-4E0C-BD67-44C22EE09731}" dt="2023-10-18T17:08:32.026" v="13148" actId="962"/>
          <ac:picMkLst>
            <pc:docMk/>
            <pc:sldMk cId="4001846917" sldId="1476"/>
            <ac:picMk id="12" creationId="{0BCFF393-AAB0-4327-9A6F-FF59D1651567}"/>
          </ac:picMkLst>
        </pc:picChg>
        <pc:cxnChg chg="mod">
          <ac:chgData name="Griffin, Rachel" userId="fcae45bf-dcdb-4a43-a8cb-7f247a985ffc" providerId="ADAL" clId="{4AFC5210-25D7-4E0C-BD67-44C22EE09731}" dt="2023-10-17T15:37:26.701" v="10010" actId="962"/>
          <ac:cxnSpMkLst>
            <pc:docMk/>
            <pc:sldMk cId="4001846917" sldId="1476"/>
            <ac:cxnSpMk id="17" creationId="{94A9D9C6-E99D-459B-A8D9-EB7638B975CF}"/>
          </ac:cxnSpMkLst>
        </pc:cxnChg>
      </pc:sldChg>
      <pc:sldChg chg="addSp modSp mod">
        <pc:chgData name="Griffin, Rachel" userId="fcae45bf-dcdb-4a43-a8cb-7f247a985ffc" providerId="ADAL" clId="{4AFC5210-25D7-4E0C-BD67-44C22EE09731}" dt="2023-10-18T19:09:23.854" v="13228" actId="962"/>
        <pc:sldMkLst>
          <pc:docMk/>
          <pc:sldMk cId="3595535556" sldId="1477"/>
        </pc:sldMkLst>
        <pc:spChg chg="mod">
          <ac:chgData name="Griffin, Rachel" userId="fcae45bf-dcdb-4a43-a8cb-7f247a985ffc" providerId="ADAL" clId="{4AFC5210-25D7-4E0C-BD67-44C22EE09731}" dt="2023-10-18T19:09:20.665" v="13225" actId="962"/>
          <ac:spMkLst>
            <pc:docMk/>
            <pc:sldMk cId="3595535556" sldId="1477"/>
            <ac:spMk id="13" creationId="{85DFA872-A283-412E-9A21-D23D9B055443}"/>
          </ac:spMkLst>
        </pc:spChg>
        <pc:spChg chg="mod">
          <ac:chgData name="Griffin, Rachel" userId="fcae45bf-dcdb-4a43-a8cb-7f247a985ffc" providerId="ADAL" clId="{4AFC5210-25D7-4E0C-BD67-44C22EE09731}" dt="2023-10-18T19:09:23.854" v="13228" actId="962"/>
          <ac:spMkLst>
            <pc:docMk/>
            <pc:sldMk cId="3595535556" sldId="1477"/>
            <ac:spMk id="15" creationId="{B9886FC3-3253-4BB6-BADC-9D9C96E9095F}"/>
          </ac:spMkLst>
        </pc:spChg>
        <pc:graphicFrameChg chg="mod">
          <ac:chgData name="Griffin, Rachel" userId="fcae45bf-dcdb-4a43-a8cb-7f247a985ffc" providerId="ADAL" clId="{4AFC5210-25D7-4E0C-BD67-44C22EE09731}" dt="2023-10-17T22:09:03.288" v="12257" actId="962"/>
          <ac:graphicFrameMkLst>
            <pc:docMk/>
            <pc:sldMk cId="3595535556" sldId="1477"/>
            <ac:graphicFrameMk id="6" creationId="{BFA91BEA-1134-43A4-B543-CA11E86186CC}"/>
          </ac:graphicFrameMkLst>
        </pc:graphicFrameChg>
        <pc:picChg chg="mod">
          <ac:chgData name="Griffin, Rachel" userId="fcae45bf-dcdb-4a43-a8cb-7f247a985ffc" providerId="ADAL" clId="{4AFC5210-25D7-4E0C-BD67-44C22EE09731}" dt="2023-10-18T19:09:19.858" v="13224" actId="962"/>
          <ac:picMkLst>
            <pc:docMk/>
            <pc:sldMk cId="3595535556" sldId="1477"/>
            <ac:picMk id="3" creationId="{EE9E2AA0-32AB-4FBB-8017-921A56A3EDF8}"/>
          </ac:picMkLst>
        </pc:picChg>
        <pc:picChg chg="mod">
          <ac:chgData name="Griffin, Rachel" userId="fcae45bf-dcdb-4a43-a8cb-7f247a985ffc" providerId="ADAL" clId="{4AFC5210-25D7-4E0C-BD67-44C22EE09731}" dt="2023-10-17T22:09:16.075" v="12258" actId="962"/>
          <ac:picMkLst>
            <pc:docMk/>
            <pc:sldMk cId="3595535556" sldId="1477"/>
            <ac:picMk id="5" creationId="{F6B144F3-DE4C-0E81-917B-9E05EA25DA11}"/>
          </ac:picMkLst>
        </pc:picChg>
        <pc:picChg chg="mod">
          <ac:chgData name="Griffin, Rachel" userId="fcae45bf-dcdb-4a43-a8cb-7f247a985ffc" providerId="ADAL" clId="{4AFC5210-25D7-4E0C-BD67-44C22EE09731}" dt="2023-10-18T19:09:17.512" v="13223" actId="962"/>
          <ac:picMkLst>
            <pc:docMk/>
            <pc:sldMk cId="3595535556" sldId="1477"/>
            <ac:picMk id="12" creationId="{0BCFF393-AAB0-4327-9A6F-FF59D1651567}"/>
          </ac:picMkLst>
        </pc:picChg>
        <pc:picChg chg="mod">
          <ac:chgData name="Griffin, Rachel" userId="fcae45bf-dcdb-4a43-a8cb-7f247a985ffc" providerId="ADAL" clId="{4AFC5210-25D7-4E0C-BD67-44C22EE09731}" dt="2023-10-17T22:09:18.949" v="12259" actId="962"/>
          <ac:picMkLst>
            <pc:docMk/>
            <pc:sldMk cId="3595535556" sldId="1477"/>
            <ac:picMk id="16" creationId="{FD38E6B3-FDA4-A838-7127-BF112EE9400D}"/>
          </ac:picMkLst>
        </pc:picChg>
        <pc:cxnChg chg="add mod">
          <ac:chgData name="Griffin, Rachel" userId="fcae45bf-dcdb-4a43-a8cb-7f247a985ffc" providerId="ADAL" clId="{4AFC5210-25D7-4E0C-BD67-44C22EE09731}" dt="2023-10-17T22:09:21.687" v="12260" actId="962"/>
          <ac:cxnSpMkLst>
            <pc:docMk/>
            <pc:sldMk cId="3595535556" sldId="1477"/>
            <ac:cxnSpMk id="7" creationId="{B2AFBDF6-6284-FC75-E535-D79B3FD167C0}"/>
          </ac:cxnSpMkLst>
        </pc:cxnChg>
        <pc:cxnChg chg="mod">
          <ac:chgData name="Griffin, Rachel" userId="fcae45bf-dcdb-4a43-a8cb-7f247a985ffc" providerId="ADAL" clId="{4AFC5210-25D7-4E0C-BD67-44C22EE09731}" dt="2023-10-17T22:08:36.421" v="12045" actId="962"/>
          <ac:cxnSpMkLst>
            <pc:docMk/>
            <pc:sldMk cId="3595535556" sldId="1477"/>
            <ac:cxnSpMk id="17" creationId="{94A9D9C6-E99D-459B-A8D9-EB7638B975CF}"/>
          </ac:cxnSpMkLst>
        </pc:cxnChg>
      </pc:sldChg>
      <pc:sldChg chg="modSp mod">
        <pc:chgData name="Griffin, Rachel" userId="fcae45bf-dcdb-4a43-a8cb-7f247a985ffc" providerId="ADAL" clId="{4AFC5210-25D7-4E0C-BD67-44C22EE09731}" dt="2023-10-18T19:14:10.929" v="13245" actId="962"/>
        <pc:sldMkLst>
          <pc:docMk/>
          <pc:sldMk cId="2296521191" sldId="1478"/>
        </pc:sldMkLst>
        <pc:spChg chg="mod">
          <ac:chgData name="Griffin, Rachel" userId="fcae45bf-dcdb-4a43-a8cb-7f247a985ffc" providerId="ADAL" clId="{4AFC5210-25D7-4E0C-BD67-44C22EE09731}" dt="2023-10-18T19:14:02.040" v="13241"/>
          <ac:spMkLst>
            <pc:docMk/>
            <pc:sldMk cId="2296521191" sldId="1478"/>
            <ac:spMk id="20" creationId="{EC590AE5-AB21-4A41-9220-C8566BDD40FD}"/>
          </ac:spMkLst>
        </pc:spChg>
        <pc:graphicFrameChg chg="mod">
          <ac:chgData name="Griffin, Rachel" userId="fcae45bf-dcdb-4a43-a8cb-7f247a985ffc" providerId="ADAL" clId="{4AFC5210-25D7-4E0C-BD67-44C22EE09731}" dt="2023-10-17T22:20:09.170" v="12514" actId="962"/>
          <ac:graphicFrameMkLst>
            <pc:docMk/>
            <pc:sldMk cId="2296521191" sldId="1478"/>
            <ac:graphicFrameMk id="6" creationId="{BFA91BEA-1134-43A4-B543-CA11E86186CC}"/>
          </ac:graphicFrameMkLst>
        </pc:graphicFrameChg>
        <pc:picChg chg="mod">
          <ac:chgData name="Griffin, Rachel" userId="fcae45bf-dcdb-4a43-a8cb-7f247a985ffc" providerId="ADAL" clId="{4AFC5210-25D7-4E0C-BD67-44C22EE09731}" dt="2023-10-18T19:14:04.777" v="13242" actId="962"/>
          <ac:picMkLst>
            <pc:docMk/>
            <pc:sldMk cId="2296521191" sldId="1478"/>
            <ac:picMk id="3" creationId="{520C3E1C-3597-41C3-9CAE-A9617C2D6E83}"/>
          </ac:picMkLst>
        </pc:picChg>
        <pc:picChg chg="mod">
          <ac:chgData name="Griffin, Rachel" userId="fcae45bf-dcdb-4a43-a8cb-7f247a985ffc" providerId="ADAL" clId="{4AFC5210-25D7-4E0C-BD67-44C22EE09731}" dt="2023-10-18T19:14:10.929" v="13245" actId="962"/>
          <ac:picMkLst>
            <pc:docMk/>
            <pc:sldMk cId="2296521191" sldId="1478"/>
            <ac:picMk id="4" creationId="{CC7F4006-F811-407C-BFF2-EECDA54F7AA7}"/>
          </ac:picMkLst>
        </pc:picChg>
        <pc:picChg chg="mod">
          <ac:chgData name="Griffin, Rachel" userId="fcae45bf-dcdb-4a43-a8cb-7f247a985ffc" providerId="ADAL" clId="{4AFC5210-25D7-4E0C-BD67-44C22EE09731}" dt="2023-10-18T19:13:50.383" v="13240" actId="962"/>
          <ac:picMkLst>
            <pc:docMk/>
            <pc:sldMk cId="2296521191" sldId="1478"/>
            <ac:picMk id="12" creationId="{0BCFF393-AAB0-4327-9A6F-FF59D1651567}"/>
          </ac:picMkLst>
        </pc:picChg>
        <pc:cxnChg chg="mod">
          <ac:chgData name="Griffin, Rachel" userId="fcae45bf-dcdb-4a43-a8cb-7f247a985ffc" providerId="ADAL" clId="{4AFC5210-25D7-4E0C-BD67-44C22EE09731}" dt="2023-10-17T22:20:04.259" v="12513" actId="962"/>
          <ac:cxnSpMkLst>
            <pc:docMk/>
            <pc:sldMk cId="2296521191" sldId="1478"/>
            <ac:cxnSpMk id="17" creationId="{94A9D9C6-E99D-459B-A8D9-EB7638B975CF}"/>
          </ac:cxnSpMkLst>
        </pc:cxnChg>
      </pc:sldChg>
      <pc:sldChg chg="addSp delSp modSp mod">
        <pc:chgData name="Griffin, Rachel" userId="fcae45bf-dcdb-4a43-a8cb-7f247a985ffc" providerId="ADAL" clId="{4AFC5210-25D7-4E0C-BD67-44C22EE09731}" dt="2023-10-18T19:19:02.157" v="13283" actId="962"/>
        <pc:sldMkLst>
          <pc:docMk/>
          <pc:sldMk cId="3382267593" sldId="1479"/>
        </pc:sldMkLst>
        <pc:spChg chg="del mod">
          <ac:chgData name="Griffin, Rachel" userId="fcae45bf-dcdb-4a43-a8cb-7f247a985ffc" providerId="ADAL" clId="{4AFC5210-25D7-4E0C-BD67-44C22EE09731}" dt="2023-10-17T22:24:42.495" v="12960" actId="478"/>
          <ac:spMkLst>
            <pc:docMk/>
            <pc:sldMk cId="3382267593" sldId="1479"/>
            <ac:spMk id="3" creationId="{F2562D44-CA55-4FFE-B559-97038DEFF07E}"/>
          </ac:spMkLst>
        </pc:spChg>
        <pc:spChg chg="add del mod">
          <ac:chgData name="Griffin, Rachel" userId="fcae45bf-dcdb-4a43-a8cb-7f247a985ffc" providerId="ADAL" clId="{4AFC5210-25D7-4E0C-BD67-44C22EE09731}" dt="2023-10-17T22:24:44.533" v="12961" actId="478"/>
          <ac:spMkLst>
            <pc:docMk/>
            <pc:sldMk cId="3382267593" sldId="1479"/>
            <ac:spMk id="8" creationId="{4C8C20C7-3EE6-7FAC-38DA-FE12BD239C56}"/>
          </ac:spMkLst>
        </pc:spChg>
        <pc:spChg chg="mod">
          <ac:chgData name="Griffin, Rachel" userId="fcae45bf-dcdb-4a43-a8cb-7f247a985ffc" providerId="ADAL" clId="{4AFC5210-25D7-4E0C-BD67-44C22EE09731}" dt="2023-10-18T19:19:02.157" v="13283" actId="962"/>
          <ac:spMkLst>
            <pc:docMk/>
            <pc:sldMk cId="3382267593" sldId="1479"/>
            <ac:spMk id="10" creationId="{E3DCBC7A-DCF2-41AF-A2DD-DD5284F3DC51}"/>
          </ac:spMkLst>
        </pc:spChg>
        <pc:picChg chg="mod">
          <ac:chgData name="Griffin, Rachel" userId="fcae45bf-dcdb-4a43-a8cb-7f247a985ffc" providerId="ADAL" clId="{4AFC5210-25D7-4E0C-BD67-44C22EE09731}" dt="2023-10-18T19:18:45.693" v="13279" actId="962"/>
          <ac:picMkLst>
            <pc:docMk/>
            <pc:sldMk cId="3382267593" sldId="1479"/>
            <ac:picMk id="5" creationId="{19B03096-9829-47B4-BF30-8681EB14755B}"/>
          </ac:picMkLst>
        </pc:picChg>
        <pc:picChg chg="mod">
          <ac:chgData name="Griffin, Rachel" userId="fcae45bf-dcdb-4a43-a8cb-7f247a985ffc" providerId="ADAL" clId="{4AFC5210-25D7-4E0C-BD67-44C22EE09731}" dt="2023-10-17T22:24:49.016" v="12962" actId="962"/>
          <ac:picMkLst>
            <pc:docMk/>
            <pc:sldMk cId="3382267593" sldId="1479"/>
            <ac:picMk id="6" creationId="{68A8798D-41D6-49DE-B3D3-A4718C6D92C7}"/>
          </ac:picMkLst>
        </pc:picChg>
        <pc:picChg chg="mod">
          <ac:chgData name="Griffin, Rachel" userId="fcae45bf-dcdb-4a43-a8cb-7f247a985ffc" providerId="ADAL" clId="{4AFC5210-25D7-4E0C-BD67-44C22EE09731}" dt="2023-10-18T19:18:49.646" v="13280" actId="962"/>
          <ac:picMkLst>
            <pc:docMk/>
            <pc:sldMk cId="3382267593" sldId="1479"/>
            <ac:picMk id="9" creationId="{2ABB1D54-6567-4B01-81CD-D21D3A3CD146}"/>
          </ac:picMkLst>
        </pc:picChg>
        <pc:picChg chg="mod">
          <ac:chgData name="Griffin, Rachel" userId="fcae45bf-dcdb-4a43-a8cb-7f247a985ffc" providerId="ADAL" clId="{4AFC5210-25D7-4E0C-BD67-44C22EE09731}" dt="2023-10-18T19:18:50.691" v="13281" actId="962"/>
          <ac:picMkLst>
            <pc:docMk/>
            <pc:sldMk cId="3382267593" sldId="1479"/>
            <ac:picMk id="11" creationId="{8AA2C6D0-FA41-43AA-872F-E5497C50E4E4}"/>
          </ac:picMkLst>
        </pc:picChg>
        <pc:picChg chg="mod">
          <ac:chgData name="Griffin, Rachel" userId="fcae45bf-dcdb-4a43-a8cb-7f247a985ffc" providerId="ADAL" clId="{4AFC5210-25D7-4E0C-BD67-44C22EE09731}" dt="2023-10-18T19:18:51.917" v="13282" actId="962"/>
          <ac:picMkLst>
            <pc:docMk/>
            <pc:sldMk cId="3382267593" sldId="1479"/>
            <ac:picMk id="13" creationId="{A7656819-A3F4-4A82-A684-EC0A151F8D19}"/>
          </ac:picMkLst>
        </pc:picChg>
      </pc:sldChg>
      <pc:sldChg chg="addSp delSp modSp mod">
        <pc:chgData name="Griffin, Rachel" userId="fcae45bf-dcdb-4a43-a8cb-7f247a985ffc" providerId="ADAL" clId="{4AFC5210-25D7-4E0C-BD67-44C22EE09731}" dt="2023-10-18T19:25:15.889" v="13285" actId="962"/>
        <pc:sldMkLst>
          <pc:docMk/>
          <pc:sldMk cId="1214265450" sldId="1480"/>
        </pc:sldMkLst>
        <pc:spChg chg="del mod">
          <ac:chgData name="Griffin, Rachel" userId="fcae45bf-dcdb-4a43-a8cb-7f247a985ffc" providerId="ADAL" clId="{4AFC5210-25D7-4E0C-BD67-44C22EE09731}" dt="2023-10-17T22:25:05.291" v="12964" actId="478"/>
          <ac:spMkLst>
            <pc:docMk/>
            <pc:sldMk cId="1214265450" sldId="1480"/>
            <ac:spMk id="3" creationId="{F2562D44-CA55-4FFE-B559-97038DEFF07E}"/>
          </ac:spMkLst>
        </pc:spChg>
        <pc:spChg chg="add del mod">
          <ac:chgData name="Griffin, Rachel" userId="fcae45bf-dcdb-4a43-a8cb-7f247a985ffc" providerId="ADAL" clId="{4AFC5210-25D7-4E0C-BD67-44C22EE09731}" dt="2023-10-17T22:25:09.086" v="12966" actId="478"/>
          <ac:spMkLst>
            <pc:docMk/>
            <pc:sldMk cId="1214265450" sldId="1480"/>
            <ac:spMk id="5" creationId="{CCB8AA9F-99E0-41B6-9128-6EF7F977DEAB}"/>
          </ac:spMkLst>
        </pc:spChg>
        <pc:spChg chg="mod">
          <ac:chgData name="Griffin, Rachel" userId="fcae45bf-dcdb-4a43-a8cb-7f247a985ffc" providerId="ADAL" clId="{4AFC5210-25D7-4E0C-BD67-44C22EE09731}" dt="2023-10-18T19:25:15.889" v="13285" actId="962"/>
          <ac:spMkLst>
            <pc:docMk/>
            <pc:sldMk cId="1214265450" sldId="1480"/>
            <ac:spMk id="7" creationId="{879074E8-2455-45A7-BF64-271D50CDAC0F}"/>
          </ac:spMkLst>
        </pc:spChg>
        <pc:picChg chg="mod">
          <ac:chgData name="Griffin, Rachel" userId="fcae45bf-dcdb-4a43-a8cb-7f247a985ffc" providerId="ADAL" clId="{4AFC5210-25D7-4E0C-BD67-44C22EE09731}" dt="2023-10-18T19:25:15.095" v="13284" actId="962"/>
          <ac:picMkLst>
            <pc:docMk/>
            <pc:sldMk cId="1214265450" sldId="1480"/>
            <ac:picMk id="6" creationId="{1A27325D-3094-4833-A552-54624D24ED68}"/>
          </ac:picMkLst>
        </pc:picChg>
      </pc:sldChg>
      <pc:sldChg chg="modSp mod">
        <pc:chgData name="Griffin, Rachel" userId="fcae45bf-dcdb-4a43-a8cb-7f247a985ffc" providerId="ADAL" clId="{4AFC5210-25D7-4E0C-BD67-44C22EE09731}" dt="2023-10-18T19:25:36.657" v="13290" actId="962"/>
        <pc:sldMkLst>
          <pc:docMk/>
          <pc:sldMk cId="2647633781" sldId="1515"/>
        </pc:sldMkLst>
        <pc:spChg chg="mod">
          <ac:chgData name="Griffin, Rachel" userId="fcae45bf-dcdb-4a43-a8cb-7f247a985ffc" providerId="ADAL" clId="{4AFC5210-25D7-4E0C-BD67-44C22EE09731}" dt="2023-10-18T19:25:36.657" v="13290" actId="962"/>
          <ac:spMkLst>
            <pc:docMk/>
            <pc:sldMk cId="2647633781" sldId="1515"/>
            <ac:spMk id="5" creationId="{BA4EE874-ECAD-4563-8413-622AF6BABA1B}"/>
          </ac:spMkLst>
        </pc:spChg>
        <pc:picChg chg="mod">
          <ac:chgData name="Griffin, Rachel" userId="fcae45bf-dcdb-4a43-a8cb-7f247a985ffc" providerId="ADAL" clId="{4AFC5210-25D7-4E0C-BD67-44C22EE09731}" dt="2023-10-17T22:25:16.732" v="12967" actId="962"/>
          <ac:picMkLst>
            <pc:docMk/>
            <pc:sldMk cId="2647633781" sldId="1515"/>
            <ac:picMk id="4" creationId="{5E687EBD-AC93-B36B-2FB8-6057BB908CA1}"/>
          </ac:picMkLst>
        </pc:picChg>
        <pc:picChg chg="mod">
          <ac:chgData name="Griffin, Rachel" userId="fcae45bf-dcdb-4a43-a8cb-7f247a985ffc" providerId="ADAL" clId="{4AFC5210-25D7-4E0C-BD67-44C22EE09731}" dt="2023-10-18T19:25:33.777" v="13289" actId="962"/>
          <ac:picMkLst>
            <pc:docMk/>
            <pc:sldMk cId="2647633781" sldId="1515"/>
            <ac:picMk id="11" creationId="{17ED52FE-F637-4E8F-A337-0715AAB458BE}"/>
          </ac:picMkLst>
        </pc:picChg>
      </pc:sldChg>
      <pc:sldChg chg="modSp">
        <pc:chgData name="Griffin, Rachel" userId="fcae45bf-dcdb-4a43-a8cb-7f247a985ffc" providerId="ADAL" clId="{4AFC5210-25D7-4E0C-BD67-44C22EE09731}" dt="2023-10-18T19:26:05.601" v="13291" actId="962"/>
        <pc:sldMkLst>
          <pc:docMk/>
          <pc:sldMk cId="4157243895" sldId="1516"/>
        </pc:sldMkLst>
        <pc:spChg chg="mod">
          <ac:chgData name="Griffin, Rachel" userId="fcae45bf-dcdb-4a43-a8cb-7f247a985ffc" providerId="ADAL" clId="{4AFC5210-25D7-4E0C-BD67-44C22EE09731}" dt="2023-10-18T19:26:05.601" v="13291" actId="962"/>
          <ac:spMkLst>
            <pc:docMk/>
            <pc:sldMk cId="4157243895" sldId="1516"/>
            <ac:spMk id="7" creationId="{7B9ABE8E-A3C2-4194-B4F1-244197818465}"/>
          </ac:spMkLst>
        </pc:spChg>
      </pc:sldChg>
      <pc:sldChg chg="modSp">
        <pc:chgData name="Griffin, Rachel" userId="fcae45bf-dcdb-4a43-a8cb-7f247a985ffc" providerId="ADAL" clId="{4AFC5210-25D7-4E0C-BD67-44C22EE09731}" dt="2023-10-18T19:26:19.651" v="13294" actId="962"/>
        <pc:sldMkLst>
          <pc:docMk/>
          <pc:sldMk cId="2015466032" sldId="1520"/>
        </pc:sldMkLst>
        <pc:spChg chg="mod">
          <ac:chgData name="Griffin, Rachel" userId="fcae45bf-dcdb-4a43-a8cb-7f247a985ffc" providerId="ADAL" clId="{4AFC5210-25D7-4E0C-BD67-44C22EE09731}" dt="2023-10-18T19:26:19.022" v="13293" actId="962"/>
          <ac:spMkLst>
            <pc:docMk/>
            <pc:sldMk cId="2015466032" sldId="1520"/>
            <ac:spMk id="6" creationId="{D8D3B15F-B611-4303-AEEA-15228B7AF6C2}"/>
          </ac:spMkLst>
        </pc:spChg>
        <pc:picChg chg="mod">
          <ac:chgData name="Griffin, Rachel" userId="fcae45bf-dcdb-4a43-a8cb-7f247a985ffc" providerId="ADAL" clId="{4AFC5210-25D7-4E0C-BD67-44C22EE09731}" dt="2023-10-18T19:26:18.125" v="13292" actId="962"/>
          <ac:picMkLst>
            <pc:docMk/>
            <pc:sldMk cId="2015466032" sldId="1520"/>
            <ac:picMk id="9" creationId="{E46E784C-6C1C-4F4B-AB43-9D9F37336D7A}"/>
          </ac:picMkLst>
        </pc:picChg>
        <pc:picChg chg="mod">
          <ac:chgData name="Griffin, Rachel" userId="fcae45bf-dcdb-4a43-a8cb-7f247a985ffc" providerId="ADAL" clId="{4AFC5210-25D7-4E0C-BD67-44C22EE09731}" dt="2023-10-18T19:26:19.651" v="13294" actId="962"/>
          <ac:picMkLst>
            <pc:docMk/>
            <pc:sldMk cId="2015466032" sldId="1520"/>
            <ac:picMk id="1027" creationId="{4F90E2CD-5F7B-4818-BB2C-38B8E8365523}"/>
          </ac:picMkLst>
        </pc:picChg>
      </pc:sldChg>
      <pc:sldChg chg="modSp mod">
        <pc:chgData name="Griffin, Rachel" userId="fcae45bf-dcdb-4a43-a8cb-7f247a985ffc" providerId="ADAL" clId="{4AFC5210-25D7-4E0C-BD67-44C22EE09731}" dt="2023-10-18T19:26:28.760" v="13296" actId="962"/>
        <pc:sldMkLst>
          <pc:docMk/>
          <pc:sldMk cId="1384828939" sldId="1521"/>
        </pc:sldMkLst>
        <pc:spChg chg="mod">
          <ac:chgData name="Griffin, Rachel" userId="fcae45bf-dcdb-4a43-a8cb-7f247a985ffc" providerId="ADAL" clId="{4AFC5210-25D7-4E0C-BD67-44C22EE09731}" dt="2023-10-18T19:26:28.380" v="13295" actId="962"/>
          <ac:spMkLst>
            <pc:docMk/>
            <pc:sldMk cId="1384828939" sldId="1521"/>
            <ac:spMk id="6" creationId="{EF05566E-F0BE-4B8D-AD35-CCC2B3F5D155}"/>
          </ac:spMkLst>
        </pc:spChg>
        <pc:picChg chg="mod">
          <ac:chgData name="Griffin, Rachel" userId="fcae45bf-dcdb-4a43-a8cb-7f247a985ffc" providerId="ADAL" clId="{4AFC5210-25D7-4E0C-BD67-44C22EE09731}" dt="2023-10-17T22:25:20.031" v="12968" actId="962"/>
          <ac:picMkLst>
            <pc:docMk/>
            <pc:sldMk cId="1384828939" sldId="1521"/>
            <ac:picMk id="3" creationId="{34FC5441-5F3B-0010-11E5-EBE4BC71B777}"/>
          </ac:picMkLst>
        </pc:picChg>
        <pc:picChg chg="mod">
          <ac:chgData name="Griffin, Rachel" userId="fcae45bf-dcdb-4a43-a8cb-7f247a985ffc" providerId="ADAL" clId="{4AFC5210-25D7-4E0C-BD67-44C22EE09731}" dt="2023-10-17T22:25:23.799" v="12969" actId="962"/>
          <ac:picMkLst>
            <pc:docMk/>
            <pc:sldMk cId="1384828939" sldId="1521"/>
            <ac:picMk id="5" creationId="{FCEC435C-66B2-F36A-1907-CDD5B0710932}"/>
          </ac:picMkLst>
        </pc:picChg>
        <pc:picChg chg="mod">
          <ac:chgData name="Griffin, Rachel" userId="fcae45bf-dcdb-4a43-a8cb-7f247a985ffc" providerId="ADAL" clId="{4AFC5210-25D7-4E0C-BD67-44C22EE09731}" dt="2023-10-18T19:26:28.760" v="13296" actId="962"/>
          <ac:picMkLst>
            <pc:docMk/>
            <pc:sldMk cId="1384828939" sldId="1521"/>
            <ac:picMk id="12" creationId="{66A673B7-A796-489B-8E7D-ABA3336E6194}"/>
          </ac:picMkLst>
        </pc:picChg>
      </pc:sldChg>
      <pc:sldChg chg="modSp delCm">
        <pc:chgData name="Griffin, Rachel" userId="fcae45bf-dcdb-4a43-a8cb-7f247a985ffc" providerId="ADAL" clId="{4AFC5210-25D7-4E0C-BD67-44C22EE09731}" dt="2023-10-18T19:26:36.165" v="13297" actId="962"/>
        <pc:sldMkLst>
          <pc:docMk/>
          <pc:sldMk cId="754053216" sldId="1522"/>
        </pc:sldMkLst>
        <pc:spChg chg="mod">
          <ac:chgData name="Griffin, Rachel" userId="fcae45bf-dcdb-4a43-a8cb-7f247a985ffc" providerId="ADAL" clId="{4AFC5210-25D7-4E0C-BD67-44C22EE09731}" dt="2023-10-18T19:26:36.165" v="13297" actId="962"/>
          <ac:spMkLst>
            <pc:docMk/>
            <pc:sldMk cId="754053216" sldId="1522"/>
            <ac:spMk id="8" creationId="{C41F4D2A-9795-4CC8-8D19-5DBEB5404FFF}"/>
          </ac:spMkLst>
        </pc:spChg>
      </pc:sldChg>
      <pc:sldChg chg="modSp">
        <pc:chgData name="Griffin, Rachel" userId="fcae45bf-dcdb-4a43-a8cb-7f247a985ffc" providerId="ADAL" clId="{4AFC5210-25D7-4E0C-BD67-44C22EE09731}" dt="2023-10-18T19:26:45.486" v="13298" actId="962"/>
        <pc:sldMkLst>
          <pc:docMk/>
          <pc:sldMk cId="173095171" sldId="1529"/>
        </pc:sldMkLst>
        <pc:spChg chg="mod">
          <ac:chgData name="Griffin, Rachel" userId="fcae45bf-dcdb-4a43-a8cb-7f247a985ffc" providerId="ADAL" clId="{4AFC5210-25D7-4E0C-BD67-44C22EE09731}" dt="2023-10-18T19:26:45.486" v="13298" actId="962"/>
          <ac:spMkLst>
            <pc:docMk/>
            <pc:sldMk cId="173095171" sldId="1529"/>
            <ac:spMk id="5" creationId="{D2277A04-0E81-47F4-BE2B-D33C6FF5A69F}"/>
          </ac:spMkLst>
        </pc:spChg>
      </pc:sldChg>
      <pc:sldChg chg="modSp">
        <pc:chgData name="Griffin, Rachel" userId="fcae45bf-dcdb-4a43-a8cb-7f247a985ffc" providerId="ADAL" clId="{4AFC5210-25D7-4E0C-BD67-44C22EE09731}" dt="2023-10-18T19:25:23.840" v="13288" actId="962"/>
        <pc:sldMkLst>
          <pc:docMk/>
          <pc:sldMk cId="3908437864" sldId="1531"/>
        </pc:sldMkLst>
        <pc:spChg chg="mod">
          <ac:chgData name="Griffin, Rachel" userId="fcae45bf-dcdb-4a43-a8cb-7f247a985ffc" providerId="ADAL" clId="{4AFC5210-25D7-4E0C-BD67-44C22EE09731}" dt="2023-10-18T19:25:22.905" v="13286" actId="962"/>
          <ac:spMkLst>
            <pc:docMk/>
            <pc:sldMk cId="3908437864" sldId="1531"/>
            <ac:spMk id="4" creationId="{71207FEC-87AD-419E-9A63-77BEBF2A6FAB}"/>
          </ac:spMkLst>
        </pc:spChg>
        <pc:spChg chg="mod">
          <ac:chgData name="Griffin, Rachel" userId="fcae45bf-dcdb-4a43-a8cb-7f247a985ffc" providerId="ADAL" clId="{4AFC5210-25D7-4E0C-BD67-44C22EE09731}" dt="2023-10-18T19:25:23.293" v="13287" actId="962"/>
          <ac:spMkLst>
            <pc:docMk/>
            <pc:sldMk cId="3908437864" sldId="1531"/>
            <ac:spMk id="5" creationId="{55F4B6DB-C3CE-49D8-9FFC-949BE734E026}"/>
          </ac:spMkLst>
        </pc:spChg>
        <pc:spChg chg="mod">
          <ac:chgData name="Griffin, Rachel" userId="fcae45bf-dcdb-4a43-a8cb-7f247a985ffc" providerId="ADAL" clId="{4AFC5210-25D7-4E0C-BD67-44C22EE09731}" dt="2023-10-18T19:25:23.840" v="13288" actId="962"/>
          <ac:spMkLst>
            <pc:docMk/>
            <pc:sldMk cId="3908437864" sldId="1531"/>
            <ac:spMk id="7" creationId="{4465AC1D-A830-413A-AF43-111D6AAE3F20}"/>
          </ac:spMkLst>
        </pc:spChg>
      </pc:sldChg>
      <pc:sldChg chg="del">
        <pc:chgData name="Griffin, Rachel" userId="fcae45bf-dcdb-4a43-a8cb-7f247a985ffc" providerId="ADAL" clId="{4AFC5210-25D7-4E0C-BD67-44C22EE09731}" dt="2023-10-04T07:13:19.035" v="682" actId="47"/>
        <pc:sldMkLst>
          <pc:docMk/>
          <pc:sldMk cId="1157376933" sldId="1549"/>
        </pc:sldMkLst>
      </pc:sldChg>
      <pc:sldChg chg="del">
        <pc:chgData name="Griffin, Rachel" userId="fcae45bf-dcdb-4a43-a8cb-7f247a985ffc" providerId="ADAL" clId="{4AFC5210-25D7-4E0C-BD67-44C22EE09731}" dt="2023-10-11T16:36:46.525" v="3446" actId="47"/>
        <pc:sldMkLst>
          <pc:docMk/>
          <pc:sldMk cId="2923652719" sldId="1550"/>
        </pc:sldMkLst>
      </pc:sldChg>
      <pc:sldChg chg="delSp modSp mod">
        <pc:chgData name="Griffin, Rachel" userId="fcae45bf-dcdb-4a43-a8cb-7f247a985ffc" providerId="ADAL" clId="{4AFC5210-25D7-4E0C-BD67-44C22EE09731}" dt="2023-10-18T21:44:43.248" v="13339" actId="20577"/>
        <pc:sldMkLst>
          <pc:docMk/>
          <pc:sldMk cId="3329791997" sldId="1552"/>
        </pc:sldMkLst>
        <pc:spChg chg="mod">
          <ac:chgData name="Griffin, Rachel" userId="fcae45bf-dcdb-4a43-a8cb-7f247a985ffc" providerId="ADAL" clId="{4AFC5210-25D7-4E0C-BD67-44C22EE09731}" dt="2023-10-18T21:44:43.248" v="13339" actId="20577"/>
          <ac:spMkLst>
            <pc:docMk/>
            <pc:sldMk cId="3329791997" sldId="1552"/>
            <ac:spMk id="3" creationId="{573BA032-7AF8-4182-A65C-0CA60091BEE9}"/>
          </ac:spMkLst>
        </pc:spChg>
        <pc:spChg chg="del mod">
          <ac:chgData name="Griffin, Rachel" userId="fcae45bf-dcdb-4a43-a8cb-7f247a985ffc" providerId="ADAL" clId="{4AFC5210-25D7-4E0C-BD67-44C22EE09731}" dt="2023-10-17T22:25:31.253" v="12971" actId="478"/>
          <ac:spMkLst>
            <pc:docMk/>
            <pc:sldMk cId="3329791997" sldId="1552"/>
            <ac:spMk id="4" creationId="{3DDE1863-DB6F-4FCA-9405-FA2BCFF3B0B7}"/>
          </ac:spMkLst>
        </pc:spChg>
        <pc:spChg chg="mod">
          <ac:chgData name="Griffin, Rachel" userId="fcae45bf-dcdb-4a43-a8cb-7f247a985ffc" providerId="ADAL" clId="{4AFC5210-25D7-4E0C-BD67-44C22EE09731}" dt="2023-10-18T21:40:18.002" v="13304" actId="20577"/>
          <ac:spMkLst>
            <pc:docMk/>
            <pc:sldMk cId="3329791997" sldId="1552"/>
            <ac:spMk id="8" creationId="{655BA028-1553-4FF9-AD01-D1EA0729AA14}"/>
          </ac:spMkLst>
        </pc:spChg>
      </pc:sldChg>
      <pc:sldChg chg="modSp add mod">
        <pc:chgData name="Griffin, Rachel" userId="fcae45bf-dcdb-4a43-a8cb-7f247a985ffc" providerId="ADAL" clId="{4AFC5210-25D7-4E0C-BD67-44C22EE09731}" dt="2023-10-17T22:28:41.357" v="12993" actId="962"/>
        <pc:sldMkLst>
          <pc:docMk/>
          <pc:sldMk cId="3245040929" sldId="1565"/>
        </pc:sldMkLst>
        <pc:spChg chg="mod">
          <ac:chgData name="Griffin, Rachel" userId="fcae45bf-dcdb-4a43-a8cb-7f247a985ffc" providerId="ADAL" clId="{4AFC5210-25D7-4E0C-BD67-44C22EE09731}" dt="2023-10-16T04:34:21.017" v="4914" actId="20577"/>
          <ac:spMkLst>
            <pc:docMk/>
            <pc:sldMk cId="3245040929" sldId="1565"/>
            <ac:spMk id="2" creationId="{006935DD-F192-4A6A-A45B-27626B244108}"/>
          </ac:spMkLst>
        </pc:spChg>
        <pc:spChg chg="mod">
          <ac:chgData name="Griffin, Rachel" userId="fcae45bf-dcdb-4a43-a8cb-7f247a985ffc" providerId="ADAL" clId="{4AFC5210-25D7-4E0C-BD67-44C22EE09731}" dt="2023-10-16T16:06:02.293" v="5749" actId="962"/>
          <ac:spMkLst>
            <pc:docMk/>
            <pc:sldMk cId="3245040929" sldId="1565"/>
            <ac:spMk id="6" creationId="{457C96F9-EFD1-416E-FC16-4597A962CDED}"/>
          </ac:spMkLst>
        </pc:spChg>
        <pc:spChg chg="mod">
          <ac:chgData name="Griffin, Rachel" userId="fcae45bf-dcdb-4a43-a8cb-7f247a985ffc" providerId="ADAL" clId="{4AFC5210-25D7-4E0C-BD67-44C22EE09731}" dt="2023-10-17T22:28:41.357" v="12993" actId="962"/>
          <ac:spMkLst>
            <pc:docMk/>
            <pc:sldMk cId="3245040929" sldId="1565"/>
            <ac:spMk id="8" creationId="{B303D8A6-E3DE-420C-A7D4-5948C48F1BF2}"/>
          </ac:spMkLst>
        </pc:spChg>
        <pc:spChg chg="mod">
          <ac:chgData name="Griffin, Rachel" userId="fcae45bf-dcdb-4a43-a8cb-7f247a985ffc" providerId="ADAL" clId="{4AFC5210-25D7-4E0C-BD67-44C22EE09731}" dt="2023-10-17T22:28:34.958" v="12992"/>
          <ac:spMkLst>
            <pc:docMk/>
            <pc:sldMk cId="3245040929" sldId="1565"/>
            <ac:spMk id="9" creationId="{6C3D9B3B-AE19-7945-86AF-7AC90ED7EDD2}"/>
          </ac:spMkLst>
        </pc:spChg>
        <pc:picChg chg="mod">
          <ac:chgData name="Griffin, Rachel" userId="fcae45bf-dcdb-4a43-a8cb-7f247a985ffc" providerId="ADAL" clId="{4AFC5210-25D7-4E0C-BD67-44C22EE09731}" dt="2023-10-16T16:05:57.829" v="5748" actId="962"/>
          <ac:picMkLst>
            <pc:docMk/>
            <pc:sldMk cId="3245040929" sldId="1565"/>
            <ac:picMk id="5" creationId="{CEFE4752-F9E8-ACF9-DE3D-8DF013DBC02B}"/>
          </ac:picMkLst>
        </pc:picChg>
        <pc:picChg chg="mod">
          <ac:chgData name="Griffin, Rachel" userId="fcae45bf-dcdb-4a43-a8cb-7f247a985ffc" providerId="ADAL" clId="{4AFC5210-25D7-4E0C-BD67-44C22EE09731}" dt="2023-10-16T16:07:17.669" v="5885" actId="962"/>
          <ac:picMkLst>
            <pc:docMk/>
            <pc:sldMk cId="3245040929" sldId="1565"/>
            <ac:picMk id="11" creationId="{68AAC9DC-9A9C-656E-C5C2-EF99ADC5476A}"/>
          </ac:picMkLst>
        </pc:picChg>
      </pc:sldChg>
      <pc:sldChg chg="del">
        <pc:chgData name="Griffin, Rachel" userId="fcae45bf-dcdb-4a43-a8cb-7f247a985ffc" providerId="ADAL" clId="{4AFC5210-25D7-4E0C-BD67-44C22EE09731}" dt="2023-10-04T06:05:21.595" v="0" actId="2696"/>
        <pc:sldMkLst>
          <pc:docMk/>
          <pc:sldMk cId="4158401410" sldId="1565"/>
        </pc:sldMkLst>
      </pc:sldChg>
      <pc:sldChg chg="modSp mod">
        <pc:chgData name="Griffin, Rachel" userId="fcae45bf-dcdb-4a43-a8cb-7f247a985ffc" providerId="ADAL" clId="{4AFC5210-25D7-4E0C-BD67-44C22EE09731}" dt="2023-10-16T16:13:28.045" v="7739" actId="962"/>
        <pc:sldMkLst>
          <pc:docMk/>
          <pc:sldMk cId="57257700" sldId="1566"/>
        </pc:sldMkLst>
        <pc:spChg chg="mod">
          <ac:chgData name="Griffin, Rachel" userId="fcae45bf-dcdb-4a43-a8cb-7f247a985ffc" providerId="ADAL" clId="{4AFC5210-25D7-4E0C-BD67-44C22EE09731}" dt="2023-10-16T16:13:28.045" v="7739" actId="962"/>
          <ac:spMkLst>
            <pc:docMk/>
            <pc:sldMk cId="57257700" sldId="1566"/>
            <ac:spMk id="15" creationId="{12C7C5B0-D5C7-2704-A1D5-9FC845D807B0}"/>
          </ac:spMkLst>
        </pc:spChg>
        <pc:graphicFrameChg chg="mod">
          <ac:chgData name="Griffin, Rachel" userId="fcae45bf-dcdb-4a43-a8cb-7f247a985ffc" providerId="ADAL" clId="{4AFC5210-25D7-4E0C-BD67-44C22EE09731}" dt="2023-10-16T16:13:17.424" v="7738" actId="962"/>
          <ac:graphicFrameMkLst>
            <pc:docMk/>
            <pc:sldMk cId="57257700" sldId="1566"/>
            <ac:graphicFrameMk id="12" creationId="{11AF7C1B-877A-764E-DA01-2EB476F14FF2}"/>
          </ac:graphicFrameMkLst>
        </pc:graphicFrameChg>
      </pc:sldChg>
      <pc:sldChg chg="delSp modSp mod delCm">
        <pc:chgData name="Griffin, Rachel" userId="fcae45bf-dcdb-4a43-a8cb-7f247a985ffc" providerId="ADAL" clId="{4AFC5210-25D7-4E0C-BD67-44C22EE09731}" dt="2023-10-17T22:33:15.155" v="13025" actId="962"/>
        <pc:sldMkLst>
          <pc:docMk/>
          <pc:sldMk cId="2875528410" sldId="1567"/>
        </pc:sldMkLst>
        <pc:spChg chg="mod">
          <ac:chgData name="Griffin, Rachel" userId="fcae45bf-dcdb-4a43-a8cb-7f247a985ffc" providerId="ADAL" clId="{4AFC5210-25D7-4E0C-BD67-44C22EE09731}" dt="2023-10-16T16:11:19.383" v="6927" actId="962"/>
          <ac:spMkLst>
            <pc:docMk/>
            <pc:sldMk cId="2875528410" sldId="1567"/>
            <ac:spMk id="4" creationId="{E3F2CBF0-0056-9780-79AB-374AA731C5AE}"/>
          </ac:spMkLst>
        </pc:spChg>
        <pc:spChg chg="mod">
          <ac:chgData name="Griffin, Rachel" userId="fcae45bf-dcdb-4a43-a8cb-7f247a985ffc" providerId="ADAL" clId="{4AFC5210-25D7-4E0C-BD67-44C22EE09731}" dt="2023-10-17T22:33:15.155" v="13025" actId="962"/>
          <ac:spMkLst>
            <pc:docMk/>
            <pc:sldMk cId="2875528410" sldId="1567"/>
            <ac:spMk id="5" creationId="{4D61501E-25B5-4DA9-9A83-CD62A427E1C2}"/>
          </ac:spMkLst>
        </pc:spChg>
        <pc:spChg chg="mod">
          <ac:chgData name="Griffin, Rachel" userId="fcae45bf-dcdb-4a43-a8cb-7f247a985ffc" providerId="ADAL" clId="{4AFC5210-25D7-4E0C-BD67-44C22EE09731}" dt="2023-10-16T16:11:23.811" v="6928" actId="962"/>
          <ac:spMkLst>
            <pc:docMk/>
            <pc:sldMk cId="2875528410" sldId="1567"/>
            <ac:spMk id="6" creationId="{BDCF357D-55C7-1EEE-1014-43087BAD6166}"/>
          </ac:spMkLst>
        </pc:spChg>
        <pc:spChg chg="del">
          <ac:chgData name="Griffin, Rachel" userId="fcae45bf-dcdb-4a43-a8cb-7f247a985ffc" providerId="ADAL" clId="{4AFC5210-25D7-4E0C-BD67-44C22EE09731}" dt="2023-10-16T16:11:15.104" v="6926" actId="478"/>
          <ac:spMkLst>
            <pc:docMk/>
            <pc:sldMk cId="2875528410" sldId="1567"/>
            <ac:spMk id="8" creationId="{F8DF0A07-866D-43E1-9E09-AD0230D5C268}"/>
          </ac:spMkLst>
        </pc:spChg>
        <pc:spChg chg="mod">
          <ac:chgData name="Griffin, Rachel" userId="fcae45bf-dcdb-4a43-a8cb-7f247a985ffc" providerId="ADAL" clId="{4AFC5210-25D7-4E0C-BD67-44C22EE09731}" dt="2023-10-04T06:34:03.993" v="531" actId="20577"/>
          <ac:spMkLst>
            <pc:docMk/>
            <pc:sldMk cId="2875528410" sldId="1567"/>
            <ac:spMk id="12" creationId="{A235332E-2396-4ADF-A4D8-8488CD4B6BBF}"/>
          </ac:spMkLst>
        </pc:spChg>
        <pc:graphicFrameChg chg="mod modGraphic">
          <ac:chgData name="Griffin, Rachel" userId="fcae45bf-dcdb-4a43-a8cb-7f247a985ffc" providerId="ADAL" clId="{4AFC5210-25D7-4E0C-BD67-44C22EE09731}" dt="2023-10-11T17:10:14.910" v="3860" actId="1076"/>
          <ac:graphicFrameMkLst>
            <pc:docMk/>
            <pc:sldMk cId="2875528410" sldId="1567"/>
            <ac:graphicFrameMk id="7" creationId="{A995D6D2-1879-4A36-8D77-C8D240C62308}"/>
          </ac:graphicFrameMkLst>
        </pc:graphicFrameChg>
      </pc:sldChg>
      <pc:sldChg chg="addSp delSp modSp add mod">
        <pc:chgData name="Griffin, Rachel" userId="fcae45bf-dcdb-4a43-a8cb-7f247a985ffc" providerId="ADAL" clId="{4AFC5210-25D7-4E0C-BD67-44C22EE09731}" dt="2023-10-17T22:29:23.445" v="12999"/>
        <pc:sldMkLst>
          <pc:docMk/>
          <pc:sldMk cId="669391853" sldId="1622"/>
        </pc:sldMkLst>
        <pc:spChg chg="add del mod">
          <ac:chgData name="Griffin, Rachel" userId="fcae45bf-dcdb-4a43-a8cb-7f247a985ffc" providerId="ADAL" clId="{4AFC5210-25D7-4E0C-BD67-44C22EE09731}" dt="2023-10-04T06:27:51.430" v="526" actId="478"/>
          <ac:spMkLst>
            <pc:docMk/>
            <pc:sldMk cId="669391853" sldId="1622"/>
            <ac:spMk id="2" creationId="{02400C4A-DF66-3091-AE1B-935202DE0A37}"/>
          </ac:spMkLst>
        </pc:spChg>
        <pc:spChg chg="mod">
          <ac:chgData name="Griffin, Rachel" userId="fcae45bf-dcdb-4a43-a8cb-7f247a985ffc" providerId="ADAL" clId="{4AFC5210-25D7-4E0C-BD67-44C22EE09731}" dt="2023-10-17T22:29:13.938" v="12997" actId="962"/>
          <ac:spMkLst>
            <pc:docMk/>
            <pc:sldMk cId="669391853" sldId="1622"/>
            <ac:spMk id="9" creationId="{3CE37351-4055-4F03-BB1E-085F57E5524E}"/>
          </ac:spMkLst>
        </pc:spChg>
        <pc:spChg chg="mod">
          <ac:chgData name="Griffin, Rachel" userId="fcae45bf-dcdb-4a43-a8cb-7f247a985ffc" providerId="ADAL" clId="{4AFC5210-25D7-4E0C-BD67-44C22EE09731}" dt="2023-10-17T22:29:10.713" v="12996"/>
          <ac:spMkLst>
            <pc:docMk/>
            <pc:sldMk cId="669391853" sldId="1622"/>
            <ac:spMk id="10" creationId="{5080DA17-A352-E145-B3FC-A5962686A452}"/>
          </ac:spMkLst>
        </pc:spChg>
        <pc:spChg chg="mod">
          <ac:chgData name="Griffin, Rachel" userId="fcae45bf-dcdb-4a43-a8cb-7f247a985ffc" providerId="ADAL" clId="{4AFC5210-25D7-4E0C-BD67-44C22EE09731}" dt="2023-10-16T16:08:25.530" v="6090" actId="962"/>
          <ac:spMkLst>
            <pc:docMk/>
            <pc:sldMk cId="669391853" sldId="1622"/>
            <ac:spMk id="12" creationId="{C2DA812B-AED1-4FAC-27F2-AA862DDBECC1}"/>
          </ac:spMkLst>
        </pc:spChg>
        <pc:spChg chg="mod">
          <ac:chgData name="Griffin, Rachel" userId="fcae45bf-dcdb-4a43-a8cb-7f247a985ffc" providerId="ADAL" clId="{4AFC5210-25D7-4E0C-BD67-44C22EE09731}" dt="2023-10-17T22:29:23.445" v="12999"/>
          <ac:spMkLst>
            <pc:docMk/>
            <pc:sldMk cId="669391853" sldId="1622"/>
            <ac:spMk id="13" creationId="{CE66A2CD-D7E2-2291-0CF5-C9554EC96586}"/>
          </ac:spMkLst>
        </pc:spChg>
        <pc:picChg chg="mod">
          <ac:chgData name="Griffin, Rachel" userId="fcae45bf-dcdb-4a43-a8cb-7f247a985ffc" providerId="ADAL" clId="{4AFC5210-25D7-4E0C-BD67-44C22EE09731}" dt="2023-10-16T16:08:18.837" v="6089" actId="962"/>
          <ac:picMkLst>
            <pc:docMk/>
            <pc:sldMk cId="669391853" sldId="1622"/>
            <ac:picMk id="11" creationId="{44A07B70-2FEB-86CF-64E3-4BA1171412EA}"/>
          </ac:picMkLst>
        </pc:picChg>
      </pc:sldChg>
      <pc:sldChg chg="del">
        <pc:chgData name="Griffin, Rachel" userId="fcae45bf-dcdb-4a43-a8cb-7f247a985ffc" providerId="ADAL" clId="{4AFC5210-25D7-4E0C-BD67-44C22EE09731}" dt="2023-10-04T06:05:21.595" v="0" actId="2696"/>
        <pc:sldMkLst>
          <pc:docMk/>
          <pc:sldMk cId="2527165952" sldId="1622"/>
        </pc:sldMkLst>
      </pc:sldChg>
      <pc:sldChg chg="modSp add">
        <pc:chgData name="Griffin, Rachel" userId="fcae45bf-dcdb-4a43-a8cb-7f247a985ffc" providerId="ADAL" clId="{4AFC5210-25D7-4E0C-BD67-44C22EE09731}" dt="2023-10-17T22:29:02.072" v="12995" actId="962"/>
        <pc:sldMkLst>
          <pc:docMk/>
          <pc:sldMk cId="391763926" sldId="1634"/>
        </pc:sldMkLst>
        <pc:spChg chg="mod">
          <ac:chgData name="Griffin, Rachel" userId="fcae45bf-dcdb-4a43-a8cb-7f247a985ffc" providerId="ADAL" clId="{4AFC5210-25D7-4E0C-BD67-44C22EE09731}" dt="2023-10-17T22:28:53.431" v="12994" actId="962"/>
          <ac:spMkLst>
            <pc:docMk/>
            <pc:sldMk cId="391763926" sldId="1634"/>
            <ac:spMk id="9" creationId="{6274E088-CC4E-4395-BFE9-B584D4B36FFD}"/>
          </ac:spMkLst>
        </pc:spChg>
        <pc:picChg chg="mod">
          <ac:chgData name="Griffin, Rachel" userId="fcae45bf-dcdb-4a43-a8cb-7f247a985ffc" providerId="ADAL" clId="{4AFC5210-25D7-4E0C-BD67-44C22EE09731}" dt="2023-10-17T22:29:02.072" v="12995" actId="962"/>
          <ac:picMkLst>
            <pc:docMk/>
            <pc:sldMk cId="391763926" sldId="1634"/>
            <ac:picMk id="8" creationId="{5B5CC028-9EEF-FF5E-A75E-8DD543281843}"/>
          </ac:picMkLst>
        </pc:picChg>
      </pc:sldChg>
      <pc:sldChg chg="del">
        <pc:chgData name="Griffin, Rachel" userId="fcae45bf-dcdb-4a43-a8cb-7f247a985ffc" providerId="ADAL" clId="{4AFC5210-25D7-4E0C-BD67-44C22EE09731}" dt="2023-10-04T06:05:21.595" v="0" actId="2696"/>
        <pc:sldMkLst>
          <pc:docMk/>
          <pc:sldMk cId="1808157270" sldId="1634"/>
        </pc:sldMkLst>
      </pc:sldChg>
      <pc:sldChg chg="del">
        <pc:chgData name="Griffin, Rachel" userId="fcae45bf-dcdb-4a43-a8cb-7f247a985ffc" providerId="ADAL" clId="{4AFC5210-25D7-4E0C-BD67-44C22EE09731}" dt="2023-10-11T16:37:00.170" v="3447" actId="47"/>
        <pc:sldMkLst>
          <pc:docMk/>
          <pc:sldMk cId="910191825" sldId="10846"/>
        </pc:sldMkLst>
      </pc:sldChg>
      <pc:sldChg chg="modSp ord">
        <pc:chgData name="Griffin, Rachel" userId="fcae45bf-dcdb-4a43-a8cb-7f247a985ffc" providerId="ADAL" clId="{4AFC5210-25D7-4E0C-BD67-44C22EE09731}" dt="2023-10-18T19:26:57.307" v="13299" actId="962"/>
        <pc:sldMkLst>
          <pc:docMk/>
          <pc:sldMk cId="3630864463" sldId="2145706528"/>
        </pc:sldMkLst>
        <pc:spChg chg="mod">
          <ac:chgData name="Griffin, Rachel" userId="fcae45bf-dcdb-4a43-a8cb-7f247a985ffc" providerId="ADAL" clId="{4AFC5210-25D7-4E0C-BD67-44C22EE09731}" dt="2023-10-18T19:26:57.307" v="13299" actId="962"/>
          <ac:spMkLst>
            <pc:docMk/>
            <pc:sldMk cId="3630864463" sldId="2145706528"/>
            <ac:spMk id="4" creationId="{F3E1B85A-9219-4933-A247-A8EEAAB295A1}"/>
          </ac:spMkLst>
        </pc:spChg>
      </pc:sldChg>
      <pc:sldChg chg="modSp mod">
        <pc:chgData name="Griffin, Rachel" userId="fcae45bf-dcdb-4a43-a8cb-7f247a985ffc" providerId="ADAL" clId="{4AFC5210-25D7-4E0C-BD67-44C22EE09731}" dt="2023-10-17T22:35:18.815" v="13041" actId="962"/>
        <pc:sldMkLst>
          <pc:docMk/>
          <pc:sldMk cId="2300689999" sldId="2145706683"/>
        </pc:sldMkLst>
        <pc:spChg chg="mod">
          <ac:chgData name="Griffin, Rachel" userId="fcae45bf-dcdb-4a43-a8cb-7f247a985ffc" providerId="ADAL" clId="{4AFC5210-25D7-4E0C-BD67-44C22EE09731}" dt="2023-10-17T22:34:29.580" v="13040" actId="962"/>
          <ac:spMkLst>
            <pc:docMk/>
            <pc:sldMk cId="2300689999" sldId="2145706683"/>
            <ac:spMk id="8" creationId="{030576BD-3E6B-4268-85FF-C3EDE4BB1D2C}"/>
          </ac:spMkLst>
        </pc:spChg>
        <pc:graphicFrameChg chg="mod modGraphic">
          <ac:chgData name="Griffin, Rachel" userId="fcae45bf-dcdb-4a43-a8cb-7f247a985ffc" providerId="ADAL" clId="{4AFC5210-25D7-4E0C-BD67-44C22EE09731}" dt="2023-10-17T22:35:18.815" v="13041" actId="962"/>
          <ac:graphicFrameMkLst>
            <pc:docMk/>
            <pc:sldMk cId="2300689999" sldId="2145706683"/>
            <ac:graphicFrameMk id="2" creationId="{4FE20CAC-2826-1650-1D0D-83C2B7EE9A6B}"/>
          </ac:graphicFrameMkLst>
        </pc:graphicFrameChg>
      </pc:sldChg>
      <pc:sldChg chg="del">
        <pc:chgData name="Griffin, Rachel" userId="fcae45bf-dcdb-4a43-a8cb-7f247a985ffc" providerId="ADAL" clId="{4AFC5210-25D7-4E0C-BD67-44C22EE09731}" dt="2023-10-04T06:05:21.595" v="0" actId="2696"/>
        <pc:sldMkLst>
          <pc:docMk/>
          <pc:sldMk cId="412633849" sldId="2145706728"/>
        </pc:sldMkLst>
      </pc:sldChg>
      <pc:sldChg chg="modSp add mod delCm">
        <pc:chgData name="Griffin, Rachel" userId="fcae45bf-dcdb-4a43-a8cb-7f247a985ffc" providerId="ADAL" clId="{4AFC5210-25D7-4E0C-BD67-44C22EE09731}" dt="2023-10-17T22:28:19.122" v="12990"/>
        <pc:sldMkLst>
          <pc:docMk/>
          <pc:sldMk cId="3655167393" sldId="2145706728"/>
        </pc:sldMkLst>
        <pc:spChg chg="mod">
          <ac:chgData name="Griffin, Rachel" userId="fcae45bf-dcdb-4a43-a8cb-7f247a985ffc" providerId="ADAL" clId="{4AFC5210-25D7-4E0C-BD67-44C22EE09731}" dt="2023-10-04T06:22:04.410" v="368" actId="1076"/>
          <ac:spMkLst>
            <pc:docMk/>
            <pc:sldMk cId="3655167393" sldId="2145706728"/>
            <ac:spMk id="4" creationId="{32A80C9C-EF23-474A-A1E2-007B59CEF31B}"/>
          </ac:spMkLst>
        </pc:spChg>
        <pc:spChg chg="mod">
          <ac:chgData name="Griffin, Rachel" userId="fcae45bf-dcdb-4a43-a8cb-7f247a985ffc" providerId="ADAL" clId="{4AFC5210-25D7-4E0C-BD67-44C22EE09731}" dt="2023-10-17T22:28:15.382" v="12989" actId="962"/>
          <ac:spMkLst>
            <pc:docMk/>
            <pc:sldMk cId="3655167393" sldId="2145706728"/>
            <ac:spMk id="8" creationId="{030576BD-3E6B-4268-85FF-C3EDE4BB1D2C}"/>
          </ac:spMkLst>
        </pc:spChg>
        <pc:spChg chg="mod">
          <ac:chgData name="Griffin, Rachel" userId="fcae45bf-dcdb-4a43-a8cb-7f247a985ffc" providerId="ADAL" clId="{4AFC5210-25D7-4E0C-BD67-44C22EE09731}" dt="2023-10-17T22:28:10.579" v="12988"/>
          <ac:spMkLst>
            <pc:docMk/>
            <pc:sldMk cId="3655167393" sldId="2145706728"/>
            <ac:spMk id="9" creationId="{C356CF3B-5E52-E54B-B041-6766BCDBE294}"/>
          </ac:spMkLst>
        </pc:spChg>
        <pc:spChg chg="mod">
          <ac:chgData name="Griffin, Rachel" userId="fcae45bf-dcdb-4a43-a8cb-7f247a985ffc" providerId="ADAL" clId="{4AFC5210-25D7-4E0C-BD67-44C22EE09731}" dt="2023-10-16T16:05:38.601" v="5647" actId="962"/>
          <ac:spMkLst>
            <pc:docMk/>
            <pc:sldMk cId="3655167393" sldId="2145706728"/>
            <ac:spMk id="13" creationId="{314E79C5-93B9-A5EF-FAF9-21D3BB205838}"/>
          </ac:spMkLst>
        </pc:spChg>
        <pc:spChg chg="mod">
          <ac:chgData name="Griffin, Rachel" userId="fcae45bf-dcdb-4a43-a8cb-7f247a985ffc" providerId="ADAL" clId="{4AFC5210-25D7-4E0C-BD67-44C22EE09731}" dt="2023-10-16T16:05:41.421" v="5648" actId="962"/>
          <ac:spMkLst>
            <pc:docMk/>
            <pc:sldMk cId="3655167393" sldId="2145706728"/>
            <ac:spMk id="14" creationId="{6F0CD19C-77D1-0178-791F-0A724D7374C7}"/>
          </ac:spMkLst>
        </pc:spChg>
        <pc:picChg chg="mod">
          <ac:chgData name="Griffin, Rachel" userId="fcae45bf-dcdb-4a43-a8cb-7f247a985ffc" providerId="ADAL" clId="{4AFC5210-25D7-4E0C-BD67-44C22EE09731}" dt="2023-10-17T22:28:19.122" v="12990"/>
          <ac:picMkLst>
            <pc:docMk/>
            <pc:sldMk cId="3655167393" sldId="2145706728"/>
            <ac:picMk id="12" creationId="{3B7AACC8-9480-1ED5-EA3F-2EF00D7818E8}"/>
          </ac:picMkLst>
        </pc:picChg>
      </pc:sldChg>
      <pc:sldChg chg="del">
        <pc:chgData name="Griffin, Rachel" userId="fcae45bf-dcdb-4a43-a8cb-7f247a985ffc" providerId="ADAL" clId="{4AFC5210-25D7-4E0C-BD67-44C22EE09731}" dt="2023-10-04T06:05:21.595" v="0" actId="2696"/>
        <pc:sldMkLst>
          <pc:docMk/>
          <pc:sldMk cId="81365744" sldId="2145706734"/>
        </pc:sldMkLst>
      </pc:sldChg>
      <pc:sldChg chg="modSp add mod ord">
        <pc:chgData name="Griffin, Rachel" userId="fcae45bf-dcdb-4a43-a8cb-7f247a985ffc" providerId="ADAL" clId="{4AFC5210-25D7-4E0C-BD67-44C22EE09731}" dt="2023-10-18T19:46:53.040" v="13302" actId="1076"/>
        <pc:sldMkLst>
          <pc:docMk/>
          <pc:sldMk cId="2337649020" sldId="2145706734"/>
        </pc:sldMkLst>
        <pc:spChg chg="mod">
          <ac:chgData name="Griffin, Rachel" userId="fcae45bf-dcdb-4a43-a8cb-7f247a985ffc" providerId="ADAL" clId="{4AFC5210-25D7-4E0C-BD67-44C22EE09731}" dt="2023-10-17T22:30:18.783" v="13010" actId="962"/>
          <ac:spMkLst>
            <pc:docMk/>
            <pc:sldMk cId="2337649020" sldId="2145706734"/>
            <ac:spMk id="11" creationId="{841F6E1B-2739-4068-9CDB-A6F3FA61CF52}"/>
          </ac:spMkLst>
        </pc:spChg>
        <pc:picChg chg="mod">
          <ac:chgData name="Griffin, Rachel" userId="fcae45bf-dcdb-4a43-a8cb-7f247a985ffc" providerId="ADAL" clId="{4AFC5210-25D7-4E0C-BD67-44C22EE09731}" dt="2023-10-18T19:46:53.040" v="13302" actId="1076"/>
          <ac:picMkLst>
            <pc:docMk/>
            <pc:sldMk cId="2337649020" sldId="2145706734"/>
            <ac:picMk id="15" creationId="{A71CA65A-D525-449E-AE83-5FC4C8450854}"/>
          </ac:picMkLst>
        </pc:picChg>
      </pc:sldChg>
      <pc:sldChg chg="modSp add mod ord">
        <pc:chgData name="Griffin, Rachel" userId="fcae45bf-dcdb-4a43-a8cb-7f247a985ffc" providerId="ADAL" clId="{4AFC5210-25D7-4E0C-BD67-44C22EE09731}" dt="2023-10-17T22:29:40.010" v="13002" actId="962"/>
        <pc:sldMkLst>
          <pc:docMk/>
          <pc:sldMk cId="3370319122" sldId="2145706774"/>
        </pc:sldMkLst>
        <pc:spChg chg="mod">
          <ac:chgData name="Griffin, Rachel" userId="fcae45bf-dcdb-4a43-a8cb-7f247a985ffc" providerId="ADAL" clId="{4AFC5210-25D7-4E0C-BD67-44C22EE09731}" dt="2023-10-04T06:50:41.846" v="580"/>
          <ac:spMkLst>
            <pc:docMk/>
            <pc:sldMk cId="3370319122" sldId="2145706774"/>
            <ac:spMk id="3" creationId="{A2C1110F-F865-CCB9-A1E5-7E4AE5DC31CD}"/>
          </ac:spMkLst>
        </pc:spChg>
        <pc:spChg chg="mod">
          <ac:chgData name="Griffin, Rachel" userId="fcae45bf-dcdb-4a43-a8cb-7f247a985ffc" providerId="ADAL" clId="{4AFC5210-25D7-4E0C-BD67-44C22EE09731}" dt="2023-10-17T22:29:40.010" v="13002" actId="962"/>
          <ac:spMkLst>
            <pc:docMk/>
            <pc:sldMk cId="3370319122" sldId="2145706774"/>
            <ac:spMk id="5" creationId="{7335DC23-DF09-4B2F-3BA5-0093B1A86C0F}"/>
          </ac:spMkLst>
        </pc:spChg>
        <pc:spChg chg="mod">
          <ac:chgData name="Griffin, Rachel" userId="fcae45bf-dcdb-4a43-a8cb-7f247a985ffc" providerId="ADAL" clId="{4AFC5210-25D7-4E0C-BD67-44C22EE09731}" dt="2023-10-17T22:29:32.436" v="13001"/>
          <ac:spMkLst>
            <pc:docMk/>
            <pc:sldMk cId="3370319122" sldId="2145706774"/>
            <ac:spMk id="6" creationId="{EBCD02D2-6DD6-8F3B-EB1C-E940DF4700E0}"/>
          </ac:spMkLst>
        </pc:spChg>
      </pc:sldChg>
      <pc:sldChg chg="del">
        <pc:chgData name="Griffin, Rachel" userId="fcae45bf-dcdb-4a43-a8cb-7f247a985ffc" providerId="ADAL" clId="{4AFC5210-25D7-4E0C-BD67-44C22EE09731}" dt="2023-10-11T16:37:03.888" v="3448" actId="47"/>
        <pc:sldMkLst>
          <pc:docMk/>
          <pc:sldMk cId="1998186464" sldId="2145706797"/>
        </pc:sldMkLst>
      </pc:sldChg>
      <pc:sldChg chg="modSp mod ord delCm modCm">
        <pc:chgData name="Griffin, Rachel" userId="fcae45bf-dcdb-4a43-a8cb-7f247a985ffc" providerId="ADAL" clId="{4AFC5210-25D7-4E0C-BD67-44C22EE09731}" dt="2023-10-17T22:31:36.043" v="13019" actId="962"/>
        <pc:sldMkLst>
          <pc:docMk/>
          <pc:sldMk cId="2712080524" sldId="2145706814"/>
        </pc:sldMkLst>
        <pc:spChg chg="mod">
          <ac:chgData name="Griffin, Rachel" userId="fcae45bf-dcdb-4a43-a8cb-7f247a985ffc" providerId="ADAL" clId="{4AFC5210-25D7-4E0C-BD67-44C22EE09731}" dt="2023-10-17T22:31:20.325" v="13014"/>
          <ac:spMkLst>
            <pc:docMk/>
            <pc:sldMk cId="2712080524" sldId="2145706814"/>
            <ac:spMk id="3" creationId="{6AC42F66-C0A5-14B3-DC83-D07A265CCB0E}"/>
          </ac:spMkLst>
        </pc:spChg>
        <pc:spChg chg="mod">
          <ac:chgData name="Griffin, Rachel" userId="fcae45bf-dcdb-4a43-a8cb-7f247a985ffc" providerId="ADAL" clId="{4AFC5210-25D7-4E0C-BD67-44C22EE09731}" dt="2023-10-17T22:31:33.657" v="13018"/>
          <ac:spMkLst>
            <pc:docMk/>
            <pc:sldMk cId="2712080524" sldId="2145706814"/>
            <ac:spMk id="4" creationId="{0D85BC09-0CEC-C329-D380-64CF22A53152}"/>
          </ac:spMkLst>
        </pc:spChg>
        <pc:spChg chg="mod">
          <ac:chgData name="Griffin, Rachel" userId="fcae45bf-dcdb-4a43-a8cb-7f247a985ffc" providerId="ADAL" clId="{4AFC5210-25D7-4E0C-BD67-44C22EE09731}" dt="2023-10-16T16:08:30.560" v="6091" actId="962"/>
          <ac:spMkLst>
            <pc:docMk/>
            <pc:sldMk cId="2712080524" sldId="2145706814"/>
            <ac:spMk id="10" creationId="{40CF6A62-9213-789C-FA5D-6909DA331697}"/>
          </ac:spMkLst>
        </pc:spChg>
        <pc:spChg chg="mod">
          <ac:chgData name="Griffin, Rachel" userId="fcae45bf-dcdb-4a43-a8cb-7f247a985ffc" providerId="ADAL" clId="{4AFC5210-25D7-4E0C-BD67-44C22EE09731}" dt="2023-10-17T22:31:26.142" v="13017"/>
          <ac:spMkLst>
            <pc:docMk/>
            <pc:sldMk cId="2712080524" sldId="2145706814"/>
            <ac:spMk id="11" creationId="{85078734-DBE4-E35E-B257-F905E3410886}"/>
          </ac:spMkLst>
        </pc:spChg>
        <pc:spChg chg="mod">
          <ac:chgData name="Griffin, Rachel" userId="fcae45bf-dcdb-4a43-a8cb-7f247a985ffc" providerId="ADAL" clId="{4AFC5210-25D7-4E0C-BD67-44C22EE09731}" dt="2023-10-17T22:31:36.043" v="13019" actId="962"/>
          <ac:spMkLst>
            <pc:docMk/>
            <pc:sldMk cId="2712080524" sldId="2145706814"/>
            <ac:spMk id="12" creationId="{E2C32F71-E7E4-64AF-69E3-96CA27BC4A2C}"/>
          </ac:spMkLst>
        </pc:spChg>
      </pc:sldChg>
      <pc:sldChg chg="modSp mod">
        <pc:chgData name="Griffin, Rachel" userId="fcae45bf-dcdb-4a43-a8cb-7f247a985ffc" providerId="ADAL" clId="{4AFC5210-25D7-4E0C-BD67-44C22EE09731}" dt="2023-10-17T22:31:53.698" v="13020" actId="962"/>
        <pc:sldMkLst>
          <pc:docMk/>
          <pc:sldMk cId="1739679880" sldId="2145706815"/>
        </pc:sldMkLst>
        <pc:spChg chg="mod">
          <ac:chgData name="Griffin, Rachel" userId="fcae45bf-dcdb-4a43-a8cb-7f247a985ffc" providerId="ADAL" clId="{4AFC5210-25D7-4E0C-BD67-44C22EE09731}" dt="2023-10-04T07:32:40.316" v="1331" actId="207"/>
          <ac:spMkLst>
            <pc:docMk/>
            <pc:sldMk cId="1739679880" sldId="2145706815"/>
            <ac:spMk id="3" creationId="{6AC42F66-C0A5-14B3-DC83-D07A265CCB0E}"/>
          </ac:spMkLst>
        </pc:spChg>
        <pc:spChg chg="mod">
          <ac:chgData name="Griffin, Rachel" userId="fcae45bf-dcdb-4a43-a8cb-7f247a985ffc" providerId="ADAL" clId="{4AFC5210-25D7-4E0C-BD67-44C22EE09731}" dt="2023-10-16T16:08:37.389" v="6093" actId="962"/>
          <ac:spMkLst>
            <pc:docMk/>
            <pc:sldMk cId="1739679880" sldId="2145706815"/>
            <ac:spMk id="10" creationId="{40CF6A62-9213-789C-FA5D-6909DA331697}"/>
          </ac:spMkLst>
        </pc:spChg>
        <pc:spChg chg="mod">
          <ac:chgData name="Griffin, Rachel" userId="fcae45bf-dcdb-4a43-a8cb-7f247a985ffc" providerId="ADAL" clId="{4AFC5210-25D7-4E0C-BD67-44C22EE09731}" dt="2023-10-17T22:31:53.698" v="13020" actId="962"/>
          <ac:spMkLst>
            <pc:docMk/>
            <pc:sldMk cId="1739679880" sldId="2145706815"/>
            <ac:spMk id="12" creationId="{E2C32F71-E7E4-64AF-69E3-96CA27BC4A2C}"/>
          </ac:spMkLst>
        </pc:spChg>
        <pc:cxnChg chg="mod">
          <ac:chgData name="Griffin, Rachel" userId="fcae45bf-dcdb-4a43-a8cb-7f247a985ffc" providerId="ADAL" clId="{4AFC5210-25D7-4E0C-BD67-44C22EE09731}" dt="2023-10-16T16:08:33.935" v="6092" actId="962"/>
          <ac:cxnSpMkLst>
            <pc:docMk/>
            <pc:sldMk cId="1739679880" sldId="2145706815"/>
            <ac:cxnSpMk id="6" creationId="{B9EE3D9E-A92F-82D3-9B03-02AFA6FC2958}"/>
          </ac:cxnSpMkLst>
        </pc:cxnChg>
        <pc:cxnChg chg="mod">
          <ac:chgData name="Griffin, Rachel" userId="fcae45bf-dcdb-4a43-a8cb-7f247a985ffc" providerId="ADAL" clId="{4AFC5210-25D7-4E0C-BD67-44C22EE09731}" dt="2023-10-16T16:08:41.082" v="6094" actId="962"/>
          <ac:cxnSpMkLst>
            <pc:docMk/>
            <pc:sldMk cId="1739679880" sldId="2145706815"/>
            <ac:cxnSpMk id="7" creationId="{2110FA7C-2CA6-2C3C-7C25-451C746D2253}"/>
          </ac:cxnSpMkLst>
        </pc:cxnChg>
      </pc:sldChg>
      <pc:sldChg chg="add del">
        <pc:chgData name="Griffin, Rachel" userId="fcae45bf-dcdb-4a43-a8cb-7f247a985ffc" providerId="ADAL" clId="{4AFC5210-25D7-4E0C-BD67-44C22EE09731}" dt="2023-10-04T06:50:43.514" v="581" actId="47"/>
        <pc:sldMkLst>
          <pc:docMk/>
          <pc:sldMk cId="2699372994" sldId="2145706818"/>
        </pc:sldMkLst>
      </pc:sldChg>
      <pc:sldChg chg="addSp modSp add del mod">
        <pc:chgData name="Griffin, Rachel" userId="fcae45bf-dcdb-4a43-a8cb-7f247a985ffc" providerId="ADAL" clId="{4AFC5210-25D7-4E0C-BD67-44C22EE09731}" dt="2023-10-04T06:44:32.382" v="575" actId="47"/>
        <pc:sldMkLst>
          <pc:docMk/>
          <pc:sldMk cId="1074584533" sldId="2145707240"/>
        </pc:sldMkLst>
        <pc:spChg chg="mod">
          <ac:chgData name="Griffin, Rachel" userId="fcae45bf-dcdb-4a43-a8cb-7f247a985ffc" providerId="ADAL" clId="{4AFC5210-25D7-4E0C-BD67-44C22EE09731}" dt="2023-10-04T06:44:25.669" v="574" actId="20577"/>
          <ac:spMkLst>
            <pc:docMk/>
            <pc:sldMk cId="1074584533" sldId="2145707240"/>
            <ac:spMk id="3" creationId="{10E2D4A2-17B7-2E7A-4A7A-1FDD8C896688}"/>
          </ac:spMkLst>
        </pc:spChg>
        <pc:picChg chg="add mod">
          <ac:chgData name="Griffin, Rachel" userId="fcae45bf-dcdb-4a43-a8cb-7f247a985ffc" providerId="ADAL" clId="{4AFC5210-25D7-4E0C-BD67-44C22EE09731}" dt="2023-10-04T06:42:17.229" v="560" actId="1076"/>
          <ac:picMkLst>
            <pc:docMk/>
            <pc:sldMk cId="1074584533" sldId="2145707240"/>
            <ac:picMk id="7" creationId="{D769919F-9D40-0151-1718-7C40C7349297}"/>
          </ac:picMkLst>
        </pc:picChg>
      </pc:sldChg>
      <pc:sldChg chg="del">
        <pc:chgData name="Griffin, Rachel" userId="fcae45bf-dcdb-4a43-a8cb-7f247a985ffc" providerId="ADAL" clId="{4AFC5210-25D7-4E0C-BD67-44C22EE09731}" dt="2023-10-11T16:37:05.782" v="3449" actId="47"/>
        <pc:sldMkLst>
          <pc:docMk/>
          <pc:sldMk cId="2918430798" sldId="2145707249"/>
        </pc:sldMkLst>
      </pc:sldChg>
      <pc:sldChg chg="addSp delSp modSp mod">
        <pc:chgData name="Griffin, Rachel" userId="fcae45bf-dcdb-4a43-a8cb-7f247a985ffc" providerId="ADAL" clId="{4AFC5210-25D7-4E0C-BD67-44C22EE09731}" dt="2023-10-18T18:57:03.833" v="13211"/>
        <pc:sldMkLst>
          <pc:docMk/>
          <pc:sldMk cId="3474482889" sldId="2145707250"/>
        </pc:sldMkLst>
        <pc:spChg chg="add mod">
          <ac:chgData name="Griffin, Rachel" userId="fcae45bf-dcdb-4a43-a8cb-7f247a985ffc" providerId="ADAL" clId="{4AFC5210-25D7-4E0C-BD67-44C22EE09731}" dt="2023-10-16T04:27:51.905" v="4404" actId="20577"/>
          <ac:spMkLst>
            <pc:docMk/>
            <pc:sldMk cId="3474482889" sldId="2145707250"/>
            <ac:spMk id="2" creationId="{EFFC6616-BE9C-E74D-68F6-2C80C1F5784A}"/>
          </ac:spMkLst>
        </pc:spChg>
        <pc:spChg chg="mod">
          <ac:chgData name="Griffin, Rachel" userId="fcae45bf-dcdb-4a43-a8cb-7f247a985ffc" providerId="ADAL" clId="{4AFC5210-25D7-4E0C-BD67-44C22EE09731}" dt="2023-10-18T18:56:41.640" v="13207" actId="962"/>
          <ac:spMkLst>
            <pc:docMk/>
            <pc:sldMk cId="3474482889" sldId="2145707250"/>
            <ac:spMk id="3" creationId="{4FAEBBF3-DDD4-AC8B-5F08-4775A57C9D11}"/>
          </ac:spMkLst>
        </pc:spChg>
        <pc:spChg chg="add mod">
          <ac:chgData name="Griffin, Rachel" userId="fcae45bf-dcdb-4a43-a8cb-7f247a985ffc" providerId="ADAL" clId="{4AFC5210-25D7-4E0C-BD67-44C22EE09731}" dt="2023-10-18T18:57:03.833" v="13211"/>
          <ac:spMkLst>
            <pc:docMk/>
            <pc:sldMk cId="3474482889" sldId="2145707250"/>
            <ac:spMk id="9" creationId="{C820D5C2-E8EF-E193-C846-4E079372325F}"/>
          </ac:spMkLst>
        </pc:spChg>
        <pc:spChg chg="add del mod">
          <ac:chgData name="Griffin, Rachel" userId="fcae45bf-dcdb-4a43-a8cb-7f247a985ffc" providerId="ADAL" clId="{4AFC5210-25D7-4E0C-BD67-44C22EE09731}" dt="2023-10-16T04:27:39.894" v="4397" actId="1076"/>
          <ac:spMkLst>
            <pc:docMk/>
            <pc:sldMk cId="3474482889" sldId="2145707250"/>
            <ac:spMk id="10" creationId="{68B5D418-4E8E-C4CC-9B86-FAC2419394A0}"/>
          </ac:spMkLst>
        </pc:spChg>
        <pc:spChg chg="mod">
          <ac:chgData name="Griffin, Rachel" userId="fcae45bf-dcdb-4a43-a8cb-7f247a985ffc" providerId="ADAL" clId="{4AFC5210-25D7-4E0C-BD67-44C22EE09731}" dt="2023-10-18T18:56:55.946" v="13210" actId="962"/>
          <ac:spMkLst>
            <pc:docMk/>
            <pc:sldMk cId="3474482889" sldId="2145707250"/>
            <ac:spMk id="11" creationId="{9ECDBBB3-2203-3831-A9FF-9D0A843D78D3}"/>
          </ac:spMkLst>
        </pc:spChg>
        <pc:grpChg chg="mod">
          <ac:chgData name="Griffin, Rachel" userId="fcae45bf-dcdb-4a43-a8cb-7f247a985ffc" providerId="ADAL" clId="{4AFC5210-25D7-4E0C-BD67-44C22EE09731}" dt="2023-10-18T18:56:47.780" v="13208" actId="962"/>
          <ac:grpSpMkLst>
            <pc:docMk/>
            <pc:sldMk cId="3474482889" sldId="2145707250"/>
            <ac:grpSpMk id="4" creationId="{8CD65932-10D2-412B-7322-8AA96644B9CB}"/>
          </ac:grpSpMkLst>
        </pc:grpChg>
        <pc:picChg chg="mod">
          <ac:chgData name="Griffin, Rachel" userId="fcae45bf-dcdb-4a43-a8cb-7f247a985ffc" providerId="ADAL" clId="{4AFC5210-25D7-4E0C-BD67-44C22EE09731}" dt="2023-10-18T18:56:51.204" v="13209" actId="962"/>
          <ac:picMkLst>
            <pc:docMk/>
            <pc:sldMk cId="3474482889" sldId="2145707250"/>
            <ac:picMk id="8" creationId="{88E2B8D5-D574-8715-A09A-8794FA531677}"/>
          </ac:picMkLst>
        </pc:picChg>
      </pc:sldChg>
      <pc:sldChg chg="modSp mod">
        <pc:chgData name="Griffin, Rachel" userId="fcae45bf-dcdb-4a43-a8cb-7f247a985ffc" providerId="ADAL" clId="{4AFC5210-25D7-4E0C-BD67-44C22EE09731}" dt="2023-10-18T17:19:50.489" v="13192" actId="962"/>
        <pc:sldMkLst>
          <pc:docMk/>
          <pc:sldMk cId="2584842006" sldId="2145707259"/>
        </pc:sldMkLst>
        <pc:spChg chg="mod">
          <ac:chgData name="Griffin, Rachel" userId="fcae45bf-dcdb-4a43-a8cb-7f247a985ffc" providerId="ADAL" clId="{4AFC5210-25D7-4E0C-BD67-44C22EE09731}" dt="2023-10-18T17:17:51.013" v="13180" actId="962"/>
          <ac:spMkLst>
            <pc:docMk/>
            <pc:sldMk cId="2584842006" sldId="2145707259"/>
            <ac:spMk id="3" creationId="{4FAEBBF3-DDD4-AC8B-5F08-4775A57C9D11}"/>
          </ac:spMkLst>
        </pc:spChg>
        <pc:spChg chg="mod">
          <ac:chgData name="Griffin, Rachel" userId="fcae45bf-dcdb-4a43-a8cb-7f247a985ffc" providerId="ADAL" clId="{4AFC5210-25D7-4E0C-BD67-44C22EE09731}" dt="2023-10-18T17:19:50.489" v="13192" actId="962"/>
          <ac:spMkLst>
            <pc:docMk/>
            <pc:sldMk cId="2584842006" sldId="2145707259"/>
            <ac:spMk id="11" creationId="{9ECDBBB3-2203-3831-A9FF-9D0A843D78D3}"/>
          </ac:spMkLst>
        </pc:spChg>
        <pc:spChg chg="mod">
          <ac:chgData name="Griffin, Rachel" userId="fcae45bf-dcdb-4a43-a8cb-7f247a985ffc" providerId="ADAL" clId="{4AFC5210-25D7-4E0C-BD67-44C22EE09731}" dt="2023-10-18T17:18:02.478" v="13186"/>
          <ac:spMkLst>
            <pc:docMk/>
            <pc:sldMk cId="2584842006" sldId="2145707259"/>
            <ac:spMk id="15" creationId="{532DDC84-AC5C-63AE-F12D-B267781E3B85}"/>
          </ac:spMkLst>
        </pc:spChg>
        <pc:grpChg chg="mod">
          <ac:chgData name="Griffin, Rachel" userId="fcae45bf-dcdb-4a43-a8cb-7f247a985ffc" providerId="ADAL" clId="{4AFC5210-25D7-4E0C-BD67-44C22EE09731}" dt="2023-10-17T15:43:03.678" v="11198" actId="962"/>
          <ac:grpSpMkLst>
            <pc:docMk/>
            <pc:sldMk cId="2584842006" sldId="2145707259"/>
            <ac:grpSpMk id="4" creationId="{8CD65932-10D2-412B-7322-8AA96644B9CB}"/>
          </ac:grpSpMkLst>
        </pc:grpChg>
        <pc:picChg chg="mod">
          <ac:chgData name="Griffin, Rachel" userId="fcae45bf-dcdb-4a43-a8cb-7f247a985ffc" providerId="ADAL" clId="{4AFC5210-25D7-4E0C-BD67-44C22EE09731}" dt="2023-10-18T17:18:29.055" v="13188" actId="962"/>
          <ac:picMkLst>
            <pc:docMk/>
            <pc:sldMk cId="2584842006" sldId="2145707259"/>
            <ac:picMk id="2" creationId="{36DF48AF-0EC7-1BB0-C460-1CA45DE1B520}"/>
          </ac:picMkLst>
        </pc:picChg>
        <pc:picChg chg="mod">
          <ac:chgData name="Griffin, Rachel" userId="fcae45bf-dcdb-4a43-a8cb-7f247a985ffc" providerId="ADAL" clId="{4AFC5210-25D7-4E0C-BD67-44C22EE09731}" dt="2023-10-18T17:17:54.574" v="13181" actId="962"/>
          <ac:picMkLst>
            <pc:docMk/>
            <pc:sldMk cId="2584842006" sldId="2145707259"/>
            <ac:picMk id="8" creationId="{88E2B8D5-D574-8715-A09A-8794FA531677}"/>
          </ac:picMkLst>
        </pc:picChg>
        <pc:picChg chg="mod">
          <ac:chgData name="Griffin, Rachel" userId="fcae45bf-dcdb-4a43-a8cb-7f247a985ffc" providerId="ADAL" clId="{4AFC5210-25D7-4E0C-BD67-44C22EE09731}" dt="2023-10-18T17:18:29.807" v="13189" actId="962"/>
          <ac:picMkLst>
            <pc:docMk/>
            <pc:sldMk cId="2584842006" sldId="2145707259"/>
            <ac:picMk id="9" creationId="{9B550D96-DD34-EC9E-84BA-70E120870337}"/>
          </ac:picMkLst>
        </pc:picChg>
      </pc:sldChg>
      <pc:sldChg chg="modSp mod">
        <pc:chgData name="Griffin, Rachel" userId="fcae45bf-dcdb-4a43-a8cb-7f247a985ffc" providerId="ADAL" clId="{4AFC5210-25D7-4E0C-BD67-44C22EE09731}" dt="2023-10-18T17:21:09.470" v="13197" actId="962"/>
        <pc:sldMkLst>
          <pc:docMk/>
          <pc:sldMk cId="1017332833" sldId="2145707260"/>
        </pc:sldMkLst>
        <pc:spChg chg="mod">
          <ac:chgData name="Griffin, Rachel" userId="fcae45bf-dcdb-4a43-a8cb-7f247a985ffc" providerId="ADAL" clId="{4AFC5210-25D7-4E0C-BD67-44C22EE09731}" dt="2023-10-18T17:20:52.320" v="13193" actId="962"/>
          <ac:spMkLst>
            <pc:docMk/>
            <pc:sldMk cId="1017332833" sldId="2145707260"/>
            <ac:spMk id="3" creationId="{4FAEBBF3-DDD4-AC8B-5F08-4775A57C9D11}"/>
          </ac:spMkLst>
        </pc:spChg>
        <pc:spChg chg="mod">
          <ac:chgData name="Griffin, Rachel" userId="fcae45bf-dcdb-4a43-a8cb-7f247a985ffc" providerId="ADAL" clId="{4AFC5210-25D7-4E0C-BD67-44C22EE09731}" dt="2023-10-18T17:21:03.227" v="13195" actId="962"/>
          <ac:spMkLst>
            <pc:docMk/>
            <pc:sldMk cId="1017332833" sldId="2145707260"/>
            <ac:spMk id="11" creationId="{9ECDBBB3-2203-3831-A9FF-9D0A843D78D3}"/>
          </ac:spMkLst>
        </pc:spChg>
        <pc:spChg chg="mod">
          <ac:chgData name="Griffin, Rachel" userId="fcae45bf-dcdb-4a43-a8cb-7f247a985ffc" providerId="ADAL" clId="{4AFC5210-25D7-4E0C-BD67-44C22EE09731}" dt="2023-10-17T15:44:29.846" v="11790" actId="962"/>
          <ac:spMkLst>
            <pc:docMk/>
            <pc:sldMk cId="1017332833" sldId="2145707260"/>
            <ac:spMk id="15" creationId="{DCD9883C-0B25-FA72-E174-74F0FB307EE1}"/>
          </ac:spMkLst>
        </pc:spChg>
        <pc:spChg chg="mod">
          <ac:chgData name="Griffin, Rachel" userId="fcae45bf-dcdb-4a43-a8cb-7f247a985ffc" providerId="ADAL" clId="{4AFC5210-25D7-4E0C-BD67-44C22EE09731}" dt="2023-10-17T15:44:33.076" v="11791" actId="962"/>
          <ac:spMkLst>
            <pc:docMk/>
            <pc:sldMk cId="1017332833" sldId="2145707260"/>
            <ac:spMk id="17" creationId="{3B8F0E37-E649-E275-A06D-F634866546EF}"/>
          </ac:spMkLst>
        </pc:spChg>
        <pc:spChg chg="mod">
          <ac:chgData name="Griffin, Rachel" userId="fcae45bf-dcdb-4a43-a8cb-7f247a985ffc" providerId="ADAL" clId="{4AFC5210-25D7-4E0C-BD67-44C22EE09731}" dt="2023-10-17T15:44:39.183" v="11793" actId="962"/>
          <ac:spMkLst>
            <pc:docMk/>
            <pc:sldMk cId="1017332833" sldId="2145707260"/>
            <ac:spMk id="20" creationId="{12291AD0-CD8F-DFE4-A64C-9E3A979D1583}"/>
          </ac:spMkLst>
        </pc:spChg>
        <pc:spChg chg="mod">
          <ac:chgData name="Griffin, Rachel" userId="fcae45bf-dcdb-4a43-a8cb-7f247a985ffc" providerId="ADAL" clId="{4AFC5210-25D7-4E0C-BD67-44C22EE09731}" dt="2023-10-17T15:44:41.655" v="11794" actId="962"/>
          <ac:spMkLst>
            <pc:docMk/>
            <pc:sldMk cId="1017332833" sldId="2145707260"/>
            <ac:spMk id="21" creationId="{910B77AD-5C22-99AE-2906-F4BFCBE5D673}"/>
          </ac:spMkLst>
        </pc:spChg>
        <pc:grpChg chg="mod">
          <ac:chgData name="Griffin, Rachel" userId="fcae45bf-dcdb-4a43-a8cb-7f247a985ffc" providerId="ADAL" clId="{4AFC5210-25D7-4E0C-BD67-44C22EE09731}" dt="2023-10-17T15:43:12.019" v="11199" actId="962"/>
          <ac:grpSpMkLst>
            <pc:docMk/>
            <pc:sldMk cId="1017332833" sldId="2145707260"/>
            <ac:grpSpMk id="4" creationId="{8CD65932-10D2-412B-7322-8AA96644B9CB}"/>
          </ac:grpSpMkLst>
        </pc:grpChg>
        <pc:picChg chg="mod">
          <ac:chgData name="Griffin, Rachel" userId="fcae45bf-dcdb-4a43-a8cb-7f247a985ffc" providerId="ADAL" clId="{4AFC5210-25D7-4E0C-BD67-44C22EE09731}" dt="2023-10-18T17:20:57.566" v="13194" actId="962"/>
          <ac:picMkLst>
            <pc:docMk/>
            <pc:sldMk cId="1017332833" sldId="2145707260"/>
            <ac:picMk id="8" creationId="{88E2B8D5-D574-8715-A09A-8794FA531677}"/>
          </ac:picMkLst>
        </pc:picChg>
        <pc:picChg chg="mod">
          <ac:chgData name="Griffin, Rachel" userId="fcae45bf-dcdb-4a43-a8cb-7f247a985ffc" providerId="ADAL" clId="{4AFC5210-25D7-4E0C-BD67-44C22EE09731}" dt="2023-10-17T15:44:24.780" v="11789" actId="962"/>
          <ac:picMkLst>
            <pc:docMk/>
            <pc:sldMk cId="1017332833" sldId="2145707260"/>
            <ac:picMk id="12" creationId="{DE63E11B-FD54-A7AD-1873-5315FF6316BD}"/>
          </ac:picMkLst>
        </pc:picChg>
        <pc:picChg chg="mod">
          <ac:chgData name="Griffin, Rachel" userId="fcae45bf-dcdb-4a43-a8cb-7f247a985ffc" providerId="ADAL" clId="{4AFC5210-25D7-4E0C-BD67-44C22EE09731}" dt="2023-10-18T17:21:08.717" v="13196" actId="962"/>
          <ac:picMkLst>
            <pc:docMk/>
            <pc:sldMk cId="1017332833" sldId="2145707260"/>
            <ac:picMk id="22" creationId="{B1359DC7-5912-51E8-FC8C-7C046B42B55A}"/>
          </ac:picMkLst>
        </pc:picChg>
        <pc:picChg chg="mod">
          <ac:chgData name="Griffin, Rachel" userId="fcae45bf-dcdb-4a43-a8cb-7f247a985ffc" providerId="ADAL" clId="{4AFC5210-25D7-4E0C-BD67-44C22EE09731}" dt="2023-10-18T17:21:09.470" v="13197" actId="962"/>
          <ac:picMkLst>
            <pc:docMk/>
            <pc:sldMk cId="1017332833" sldId="2145707260"/>
            <ac:picMk id="23" creationId="{D4CD3CFA-941F-8CCF-3E85-E7B4781590FA}"/>
          </ac:picMkLst>
        </pc:picChg>
        <pc:cxnChg chg="mod">
          <ac:chgData name="Griffin, Rachel" userId="fcae45bf-dcdb-4a43-a8cb-7f247a985ffc" providerId="ADAL" clId="{4AFC5210-25D7-4E0C-BD67-44C22EE09731}" dt="2023-10-17T15:44:35.573" v="11792" actId="962"/>
          <ac:cxnSpMkLst>
            <pc:docMk/>
            <pc:sldMk cId="1017332833" sldId="2145707260"/>
            <ac:cxnSpMk id="19" creationId="{D5B7B9D5-4BD4-B358-541B-79A3E9F35E1C}"/>
          </ac:cxnSpMkLst>
        </pc:cxnChg>
      </pc:sldChg>
      <pc:sldChg chg="modSp new del mod">
        <pc:chgData name="Griffin, Rachel" userId="fcae45bf-dcdb-4a43-a8cb-7f247a985ffc" providerId="ADAL" clId="{4AFC5210-25D7-4E0C-BD67-44C22EE09731}" dt="2023-10-11T16:51:29.337" v="3450" actId="2696"/>
        <pc:sldMkLst>
          <pc:docMk/>
          <pc:sldMk cId="3674669388" sldId="2145707261"/>
        </pc:sldMkLst>
        <pc:spChg chg="mod">
          <ac:chgData name="Griffin, Rachel" userId="fcae45bf-dcdb-4a43-a8cb-7f247a985ffc" providerId="ADAL" clId="{4AFC5210-25D7-4E0C-BD67-44C22EE09731}" dt="2023-10-10T22:43:32.571" v="3445" actId="207"/>
          <ac:spMkLst>
            <pc:docMk/>
            <pc:sldMk cId="3674669388" sldId="2145707261"/>
            <ac:spMk id="3" creationId="{94ACB6FF-4427-D5DB-9DCE-2681747345A6}"/>
          </ac:spMkLst>
        </pc:spChg>
        <pc:spChg chg="mod">
          <ac:chgData name="Griffin, Rachel" userId="fcae45bf-dcdb-4a43-a8cb-7f247a985ffc" providerId="ADAL" clId="{4AFC5210-25D7-4E0C-BD67-44C22EE09731}" dt="2023-10-10T16:12:15.590" v="2057" actId="20577"/>
          <ac:spMkLst>
            <pc:docMk/>
            <pc:sldMk cId="3674669388" sldId="2145707261"/>
            <ac:spMk id="4" creationId="{611F540A-DA1D-7C9B-DC00-A89153A663B1}"/>
          </ac:spMkLst>
        </pc:spChg>
      </pc:sldChg>
      <pc:sldChg chg="addSp delSp modSp add mod">
        <pc:chgData name="Griffin, Rachel" userId="fcae45bf-dcdb-4a43-a8cb-7f247a985ffc" providerId="ADAL" clId="{4AFC5210-25D7-4E0C-BD67-44C22EE09731}" dt="2023-10-18T19:57:21.332" v="13303" actId="1076"/>
        <pc:sldMkLst>
          <pc:docMk/>
          <pc:sldMk cId="848697860" sldId="2145707262"/>
        </pc:sldMkLst>
        <pc:spChg chg="add mod">
          <ac:chgData name="Griffin, Rachel" userId="fcae45bf-dcdb-4a43-a8cb-7f247a985ffc" providerId="ADAL" clId="{4AFC5210-25D7-4E0C-BD67-44C22EE09731}" dt="2023-10-10T22:24:34.250" v="2688" actId="20577"/>
          <ac:spMkLst>
            <pc:docMk/>
            <pc:sldMk cId="848697860" sldId="2145707262"/>
            <ac:spMk id="2" creationId="{3940A313-506F-E458-5A86-67367B4BB54D}"/>
          </ac:spMkLst>
        </pc:spChg>
        <pc:spChg chg="add del mod">
          <ac:chgData name="Griffin, Rachel" userId="fcae45bf-dcdb-4a43-a8cb-7f247a985ffc" providerId="ADAL" clId="{4AFC5210-25D7-4E0C-BD67-44C22EE09731}" dt="2023-10-10T22:21:18.738" v="2439" actId="478"/>
          <ac:spMkLst>
            <pc:docMk/>
            <pc:sldMk cId="848697860" sldId="2145707262"/>
            <ac:spMk id="4" creationId="{1C5D1564-C251-A8AC-99F9-DD97A7337B51}"/>
          </ac:spMkLst>
        </pc:spChg>
        <pc:spChg chg="mod">
          <ac:chgData name="Griffin, Rachel" userId="fcae45bf-dcdb-4a43-a8cb-7f247a985ffc" providerId="ADAL" clId="{4AFC5210-25D7-4E0C-BD67-44C22EE09731}" dt="2023-10-10T22:19:04.848" v="2073" actId="20577"/>
          <ac:spMkLst>
            <pc:docMk/>
            <pc:sldMk cId="848697860" sldId="2145707262"/>
            <ac:spMk id="6" creationId="{61A4D8EC-A93E-0572-9EB1-228D57C0E131}"/>
          </ac:spMkLst>
        </pc:spChg>
        <pc:spChg chg="del">
          <ac:chgData name="Griffin, Rachel" userId="fcae45bf-dcdb-4a43-a8cb-7f247a985ffc" providerId="ADAL" clId="{4AFC5210-25D7-4E0C-BD67-44C22EE09731}" dt="2023-10-10T22:18:58.301" v="2066" actId="478"/>
          <ac:spMkLst>
            <pc:docMk/>
            <pc:sldMk cId="848697860" sldId="2145707262"/>
            <ac:spMk id="7" creationId="{BBBFA3D7-6D85-8F8A-BE5D-BC5709A00B37}"/>
          </ac:spMkLst>
        </pc:spChg>
        <pc:spChg chg="del">
          <ac:chgData name="Griffin, Rachel" userId="fcae45bf-dcdb-4a43-a8cb-7f247a985ffc" providerId="ADAL" clId="{4AFC5210-25D7-4E0C-BD67-44C22EE09731}" dt="2023-10-10T22:18:56.064" v="2065" actId="478"/>
          <ac:spMkLst>
            <pc:docMk/>
            <pc:sldMk cId="848697860" sldId="2145707262"/>
            <ac:spMk id="8" creationId="{C1BB07E5-339E-2F4C-9271-9E0B749CC2E5}"/>
          </ac:spMkLst>
        </pc:spChg>
        <pc:spChg chg="mod">
          <ac:chgData name="Griffin, Rachel" userId="fcae45bf-dcdb-4a43-a8cb-7f247a985ffc" providerId="ADAL" clId="{4AFC5210-25D7-4E0C-BD67-44C22EE09731}" dt="2023-10-17T22:31:07.520" v="13013" actId="962"/>
          <ac:spMkLst>
            <pc:docMk/>
            <pc:sldMk cId="848697860" sldId="2145707262"/>
            <ac:spMk id="11" creationId="{841F6E1B-2739-4068-9CDB-A6F3FA61CF52}"/>
          </ac:spMkLst>
        </pc:spChg>
        <pc:picChg chg="mod">
          <ac:chgData name="Griffin, Rachel" userId="fcae45bf-dcdb-4a43-a8cb-7f247a985ffc" providerId="ADAL" clId="{4AFC5210-25D7-4E0C-BD67-44C22EE09731}" dt="2023-10-18T19:57:21.332" v="13303" actId="1076"/>
          <ac:picMkLst>
            <pc:docMk/>
            <pc:sldMk cId="848697860" sldId="2145707262"/>
            <ac:picMk id="15" creationId="{A71CA65A-D525-449E-AE83-5FC4C8450854}"/>
          </ac:picMkLst>
        </pc:picChg>
      </pc:sldChg>
      <pc:sldChg chg="addSp modSp new del mod">
        <pc:chgData name="Griffin, Rachel" userId="fcae45bf-dcdb-4a43-a8cb-7f247a985ffc" providerId="ADAL" clId="{4AFC5210-25D7-4E0C-BD67-44C22EE09731}" dt="2023-10-10T22:18:45.514" v="2063" actId="47"/>
        <pc:sldMkLst>
          <pc:docMk/>
          <pc:sldMk cId="2506915238" sldId="2145707262"/>
        </pc:sldMkLst>
        <pc:spChg chg="add mod">
          <ac:chgData name="Griffin, Rachel" userId="fcae45bf-dcdb-4a43-a8cb-7f247a985ffc" providerId="ADAL" clId="{4AFC5210-25D7-4E0C-BD67-44C22EE09731}" dt="2023-10-10T22:18:41.728" v="2062" actId="14100"/>
          <ac:spMkLst>
            <pc:docMk/>
            <pc:sldMk cId="2506915238" sldId="2145707262"/>
            <ac:spMk id="5" creationId="{CB91D390-1EDE-30C1-7443-F5F70236551C}"/>
          </ac:spMkLst>
        </pc:spChg>
      </pc:sldChg>
      <pc:sldChg chg="modSp new del mod">
        <pc:chgData name="Griffin, Rachel" userId="fcae45bf-dcdb-4a43-a8cb-7f247a985ffc" providerId="ADAL" clId="{4AFC5210-25D7-4E0C-BD67-44C22EE09731}" dt="2023-10-04T06:21:59.252" v="367" actId="47"/>
        <pc:sldMkLst>
          <pc:docMk/>
          <pc:sldMk cId="2580176724" sldId="2145707262"/>
        </pc:sldMkLst>
        <pc:spChg chg="mod">
          <ac:chgData name="Griffin, Rachel" userId="fcae45bf-dcdb-4a43-a8cb-7f247a985ffc" providerId="ADAL" clId="{4AFC5210-25D7-4E0C-BD67-44C22EE09731}" dt="2023-10-04T06:21:57.935" v="366" actId="5793"/>
          <ac:spMkLst>
            <pc:docMk/>
            <pc:sldMk cId="2580176724" sldId="2145707262"/>
            <ac:spMk id="3" creationId="{4F302C05-47BD-DBBF-D0F5-3C9BEB2B0260}"/>
          </ac:spMkLst>
        </pc:spChg>
      </pc:sldChg>
      <pc:sldMasterChg chg="del delSldLayout">
        <pc:chgData name="Griffin, Rachel" userId="fcae45bf-dcdb-4a43-a8cb-7f247a985ffc" providerId="ADAL" clId="{4AFC5210-25D7-4E0C-BD67-44C22EE09731}" dt="2023-10-04T06:08:22.350" v="38" actId="47"/>
        <pc:sldMasterMkLst>
          <pc:docMk/>
          <pc:sldMasterMk cId="645866475" sldId="2147483648"/>
        </pc:sldMasterMkLst>
        <pc:sldLayoutChg chg="del">
          <pc:chgData name="Griffin, Rachel" userId="fcae45bf-dcdb-4a43-a8cb-7f247a985ffc" providerId="ADAL" clId="{4AFC5210-25D7-4E0C-BD67-44C22EE09731}" dt="2023-10-04T06:08:22.350" v="38" actId="47"/>
          <pc:sldLayoutMkLst>
            <pc:docMk/>
            <pc:sldMasterMk cId="645866475" sldId="2147483648"/>
            <pc:sldLayoutMk cId="3535380946" sldId="2147483649"/>
          </pc:sldLayoutMkLst>
        </pc:sldLayoutChg>
        <pc:sldLayoutChg chg="del">
          <pc:chgData name="Griffin, Rachel" userId="fcae45bf-dcdb-4a43-a8cb-7f247a985ffc" providerId="ADAL" clId="{4AFC5210-25D7-4E0C-BD67-44C22EE09731}" dt="2023-10-04T06:08:22.350" v="38" actId="47"/>
          <pc:sldLayoutMkLst>
            <pc:docMk/>
            <pc:sldMasterMk cId="645866475" sldId="2147483648"/>
            <pc:sldLayoutMk cId="1214684234" sldId="2147483650"/>
          </pc:sldLayoutMkLst>
        </pc:sldLayoutChg>
        <pc:sldLayoutChg chg="del">
          <pc:chgData name="Griffin, Rachel" userId="fcae45bf-dcdb-4a43-a8cb-7f247a985ffc" providerId="ADAL" clId="{4AFC5210-25D7-4E0C-BD67-44C22EE09731}" dt="2023-10-04T06:08:22.350" v="38" actId="47"/>
          <pc:sldLayoutMkLst>
            <pc:docMk/>
            <pc:sldMasterMk cId="645866475" sldId="2147483648"/>
            <pc:sldLayoutMk cId="3232844730" sldId="2147483651"/>
          </pc:sldLayoutMkLst>
        </pc:sldLayoutChg>
        <pc:sldLayoutChg chg="del">
          <pc:chgData name="Griffin, Rachel" userId="fcae45bf-dcdb-4a43-a8cb-7f247a985ffc" providerId="ADAL" clId="{4AFC5210-25D7-4E0C-BD67-44C22EE09731}" dt="2023-10-04T06:08:22.350" v="38" actId="47"/>
          <pc:sldLayoutMkLst>
            <pc:docMk/>
            <pc:sldMasterMk cId="645866475" sldId="2147483648"/>
            <pc:sldLayoutMk cId="2280238442" sldId="2147483652"/>
          </pc:sldLayoutMkLst>
        </pc:sldLayoutChg>
        <pc:sldLayoutChg chg="del">
          <pc:chgData name="Griffin, Rachel" userId="fcae45bf-dcdb-4a43-a8cb-7f247a985ffc" providerId="ADAL" clId="{4AFC5210-25D7-4E0C-BD67-44C22EE09731}" dt="2023-10-04T06:08:22.350" v="38" actId="47"/>
          <pc:sldLayoutMkLst>
            <pc:docMk/>
            <pc:sldMasterMk cId="645866475" sldId="2147483648"/>
            <pc:sldLayoutMk cId="2803828157" sldId="2147483653"/>
          </pc:sldLayoutMkLst>
        </pc:sldLayoutChg>
        <pc:sldLayoutChg chg="del">
          <pc:chgData name="Griffin, Rachel" userId="fcae45bf-dcdb-4a43-a8cb-7f247a985ffc" providerId="ADAL" clId="{4AFC5210-25D7-4E0C-BD67-44C22EE09731}" dt="2023-10-04T06:08:22.350" v="38" actId="47"/>
          <pc:sldLayoutMkLst>
            <pc:docMk/>
            <pc:sldMasterMk cId="645866475" sldId="2147483648"/>
            <pc:sldLayoutMk cId="4268121751" sldId="2147483654"/>
          </pc:sldLayoutMkLst>
        </pc:sldLayoutChg>
        <pc:sldLayoutChg chg="del">
          <pc:chgData name="Griffin, Rachel" userId="fcae45bf-dcdb-4a43-a8cb-7f247a985ffc" providerId="ADAL" clId="{4AFC5210-25D7-4E0C-BD67-44C22EE09731}" dt="2023-10-04T06:08:22.350" v="38" actId="47"/>
          <pc:sldLayoutMkLst>
            <pc:docMk/>
            <pc:sldMasterMk cId="645866475" sldId="2147483648"/>
            <pc:sldLayoutMk cId="1949077926" sldId="2147483655"/>
          </pc:sldLayoutMkLst>
        </pc:sldLayoutChg>
        <pc:sldLayoutChg chg="del">
          <pc:chgData name="Griffin, Rachel" userId="fcae45bf-dcdb-4a43-a8cb-7f247a985ffc" providerId="ADAL" clId="{4AFC5210-25D7-4E0C-BD67-44C22EE09731}" dt="2023-10-04T06:08:22.350" v="38" actId="47"/>
          <pc:sldLayoutMkLst>
            <pc:docMk/>
            <pc:sldMasterMk cId="645866475" sldId="2147483648"/>
            <pc:sldLayoutMk cId="3387416455" sldId="2147483656"/>
          </pc:sldLayoutMkLst>
        </pc:sldLayoutChg>
        <pc:sldLayoutChg chg="del">
          <pc:chgData name="Griffin, Rachel" userId="fcae45bf-dcdb-4a43-a8cb-7f247a985ffc" providerId="ADAL" clId="{4AFC5210-25D7-4E0C-BD67-44C22EE09731}" dt="2023-10-04T06:08:22.350" v="38" actId="47"/>
          <pc:sldLayoutMkLst>
            <pc:docMk/>
            <pc:sldMasterMk cId="645866475" sldId="2147483648"/>
            <pc:sldLayoutMk cId="848046056" sldId="2147483657"/>
          </pc:sldLayoutMkLst>
        </pc:sldLayoutChg>
        <pc:sldLayoutChg chg="del">
          <pc:chgData name="Griffin, Rachel" userId="fcae45bf-dcdb-4a43-a8cb-7f247a985ffc" providerId="ADAL" clId="{4AFC5210-25D7-4E0C-BD67-44C22EE09731}" dt="2023-10-04T06:08:22.350" v="38" actId="47"/>
          <pc:sldLayoutMkLst>
            <pc:docMk/>
            <pc:sldMasterMk cId="645866475" sldId="2147483648"/>
            <pc:sldLayoutMk cId="114961438" sldId="2147483658"/>
          </pc:sldLayoutMkLst>
        </pc:sldLayoutChg>
        <pc:sldLayoutChg chg="del">
          <pc:chgData name="Griffin, Rachel" userId="fcae45bf-dcdb-4a43-a8cb-7f247a985ffc" providerId="ADAL" clId="{4AFC5210-25D7-4E0C-BD67-44C22EE09731}" dt="2023-10-04T06:08:22.350" v="38" actId="47"/>
          <pc:sldLayoutMkLst>
            <pc:docMk/>
            <pc:sldMasterMk cId="645866475" sldId="2147483648"/>
            <pc:sldLayoutMk cId="3692422987" sldId="2147483659"/>
          </pc:sldLayoutMkLst>
        </pc:sldLayoutChg>
      </pc:sldMasterChg>
      <pc:sldMasterChg chg="delSldLayout">
        <pc:chgData name="Griffin, Rachel" userId="fcae45bf-dcdb-4a43-a8cb-7f247a985ffc" providerId="ADAL" clId="{4AFC5210-25D7-4E0C-BD67-44C22EE09731}" dt="2023-10-12T14:56:35.138" v="3889" actId="47"/>
        <pc:sldMasterMkLst>
          <pc:docMk/>
          <pc:sldMasterMk cId="4233489731" sldId="2147483660"/>
        </pc:sldMasterMkLst>
        <pc:sldLayoutChg chg="del">
          <pc:chgData name="Griffin, Rachel" userId="fcae45bf-dcdb-4a43-a8cb-7f247a985ffc" providerId="ADAL" clId="{4AFC5210-25D7-4E0C-BD67-44C22EE09731}" dt="2023-10-12T14:56:35.138" v="3889" actId="47"/>
          <pc:sldLayoutMkLst>
            <pc:docMk/>
            <pc:sldMasterMk cId="4233489731" sldId="2147483660"/>
            <pc:sldLayoutMk cId="108492248" sldId="2147483695"/>
          </pc:sldLayoutMkLst>
        </pc:sldLayoutChg>
      </pc:sldMasterChg>
    </pc:docChg>
  </pc:docChgLst>
</pc:chgInfo>
</file>

<file path=ppt/diagrams/_rels/data2.xml.rels><?xml version="1.0" encoding="UTF-8" standalone="yes"?>
<Relationships xmlns="http://schemas.openxmlformats.org/package/2006/relationships"><Relationship Id="rId1" Type="http://schemas.openxmlformats.org/officeDocument/2006/relationships/image" Target="../media/image23.jpeg"/></Relationships>
</file>

<file path=ppt/diagrams/_rels/data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ata5.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image" Target="../media/image34.png"/></Relationships>
</file>

<file path=ppt/diagrams/_rels/data6.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image" Target="../media/image34.png"/></Relationships>
</file>

<file path=ppt/diagrams/_rels/data7.xml.rels><?xml version="1.0" encoding="UTF-8" standalone="yes"?>
<Relationships xmlns="http://schemas.openxmlformats.org/package/2006/relationships"><Relationship Id="rId2" Type="http://schemas.openxmlformats.org/officeDocument/2006/relationships/image" Target="../media/image35.svg"/><Relationship Id="rId1" Type="http://schemas.openxmlformats.org/officeDocument/2006/relationships/image" Target="../media/image34.png"/></Relationships>
</file>

<file path=ppt/diagrams/_rels/drawing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08E11E-5ECC-4953-80DA-DBA2250A47E2}"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C4246216-108C-4028-8382-E54F3C070CA1}">
      <dgm:prSet phldrT="[Text]"/>
      <dgm:spPr/>
      <dgm:t>
        <a:bodyPr anchor="ctr"/>
        <a:lstStyle/>
        <a:p>
          <a:r>
            <a:rPr lang="en-US" dirty="0"/>
            <a:t>Accommodation Updates and Reminders</a:t>
          </a:r>
        </a:p>
      </dgm:t>
    </dgm:pt>
    <dgm:pt modelId="{B19E0FD8-F543-440D-9579-C4351D6785A5}" type="parTrans" cxnId="{C683EDE7-AA3E-4036-8050-B80F7718B6C6}">
      <dgm:prSet/>
      <dgm:spPr/>
      <dgm:t>
        <a:bodyPr/>
        <a:lstStyle/>
        <a:p>
          <a:endParaRPr lang="en-US"/>
        </a:p>
      </dgm:t>
    </dgm:pt>
    <dgm:pt modelId="{A7065032-DD2E-4CEB-BE58-2B000C9C5881}" type="sibTrans" cxnId="{C683EDE7-AA3E-4036-8050-B80F7718B6C6}">
      <dgm:prSet/>
      <dgm:spPr/>
      <dgm:t>
        <a:bodyPr/>
        <a:lstStyle/>
        <a:p>
          <a:endParaRPr lang="en-US"/>
        </a:p>
      </dgm:t>
    </dgm:pt>
    <dgm:pt modelId="{E7BCF7B0-1968-4AFD-829D-BFC1F6002619}">
      <dgm:prSet phldrT="[Text]"/>
      <dgm:spPr/>
      <dgm:t>
        <a:bodyPr/>
        <a:lstStyle/>
        <a:p>
          <a:r>
            <a:rPr lang="en-US" dirty="0"/>
            <a:t>Accommodations Overview</a:t>
          </a:r>
        </a:p>
      </dgm:t>
    </dgm:pt>
    <dgm:pt modelId="{29DF355B-53C2-4975-B45B-0BE03B06B4F6}" type="parTrans" cxnId="{57956A24-8612-426D-B8A0-E9DCE9862ECC}">
      <dgm:prSet/>
      <dgm:spPr/>
      <dgm:t>
        <a:bodyPr/>
        <a:lstStyle/>
        <a:p>
          <a:endParaRPr lang="en-US"/>
        </a:p>
      </dgm:t>
    </dgm:pt>
    <dgm:pt modelId="{1354B431-A216-44EC-8B62-3F6F7B70768A}" type="sibTrans" cxnId="{57956A24-8612-426D-B8A0-E9DCE9862ECC}">
      <dgm:prSet/>
      <dgm:spPr/>
      <dgm:t>
        <a:bodyPr/>
        <a:lstStyle/>
        <a:p>
          <a:endParaRPr lang="en-US"/>
        </a:p>
      </dgm:t>
    </dgm:pt>
    <dgm:pt modelId="{C4AD7C9F-DB26-4BCD-90A4-E7E8F6FB5DA8}">
      <dgm:prSet phldrT="[Text]"/>
      <dgm:spPr/>
      <dgm:t>
        <a:bodyPr/>
        <a:lstStyle/>
        <a:p>
          <a:pPr rtl="0"/>
          <a:r>
            <a:rPr lang="en-US" dirty="0"/>
            <a:t>Online and Paper Practice</a:t>
          </a:r>
        </a:p>
      </dgm:t>
    </dgm:pt>
    <dgm:pt modelId="{871637C4-2853-4574-8CC3-5F7E9986724F}" type="parTrans" cxnId="{8776E595-0BEE-45F4-8173-72BDFDDD4745}">
      <dgm:prSet/>
      <dgm:spPr/>
      <dgm:t>
        <a:bodyPr/>
        <a:lstStyle/>
        <a:p>
          <a:endParaRPr lang="en-US"/>
        </a:p>
      </dgm:t>
    </dgm:pt>
    <dgm:pt modelId="{D399510A-C23E-474D-92F4-4156EE771A1E}" type="sibTrans" cxnId="{8776E595-0BEE-45F4-8173-72BDFDDD4745}">
      <dgm:prSet/>
      <dgm:spPr/>
      <dgm:t>
        <a:bodyPr/>
        <a:lstStyle/>
        <a:p>
          <a:endParaRPr lang="en-US"/>
        </a:p>
      </dgm:t>
    </dgm:pt>
    <dgm:pt modelId="{3AEABBA9-CC1F-4CF1-8396-9A106A5EC0A7}">
      <dgm:prSet phldrT="[Text]"/>
      <dgm:spPr/>
      <dgm:t>
        <a:bodyPr/>
        <a:lstStyle/>
        <a:p>
          <a:r>
            <a:rPr lang="en-US" dirty="0"/>
            <a:t>Accommodation Request Forms</a:t>
          </a:r>
        </a:p>
      </dgm:t>
    </dgm:pt>
    <dgm:pt modelId="{F94F52C0-344F-40EC-8079-7D7CD9CADD93}" type="parTrans" cxnId="{7A024EC6-077E-E543-BE98-2F0C70E5D11A}">
      <dgm:prSet/>
      <dgm:spPr/>
      <dgm:t>
        <a:bodyPr/>
        <a:lstStyle/>
        <a:p>
          <a:endParaRPr lang="en-US"/>
        </a:p>
      </dgm:t>
    </dgm:pt>
    <dgm:pt modelId="{7263A32B-17EC-4A72-8440-48DB8CD4D82C}" type="sibTrans" cxnId="{7A024EC6-077E-E543-BE98-2F0C70E5D11A}">
      <dgm:prSet/>
      <dgm:spPr/>
      <dgm:t>
        <a:bodyPr/>
        <a:lstStyle/>
        <a:p>
          <a:endParaRPr lang="en-US"/>
        </a:p>
      </dgm:t>
    </dgm:pt>
    <dgm:pt modelId="{E5F1B890-BD51-4BDC-B8EE-43B2E96C778A}">
      <dgm:prSet phldrT="[Text]"/>
      <dgm:spPr/>
      <dgm:t>
        <a:bodyPr anchor="ctr"/>
        <a:lstStyle/>
        <a:p>
          <a:r>
            <a:rPr lang="en-US" dirty="0"/>
            <a:t>Roll Call and Questions</a:t>
          </a:r>
        </a:p>
      </dgm:t>
    </dgm:pt>
    <dgm:pt modelId="{924A94DE-AD36-45B9-83A0-28DF590BEF63}" type="parTrans" cxnId="{6A7BCFC3-0DF0-3A4D-BD37-C894037F69D8}">
      <dgm:prSet/>
      <dgm:spPr/>
      <dgm:t>
        <a:bodyPr/>
        <a:lstStyle/>
        <a:p>
          <a:endParaRPr lang="en-US"/>
        </a:p>
      </dgm:t>
    </dgm:pt>
    <dgm:pt modelId="{25F6F0B8-0392-4083-9975-7D02191071B2}" type="sibTrans" cxnId="{6A7BCFC3-0DF0-3A4D-BD37-C894037F69D8}">
      <dgm:prSet/>
      <dgm:spPr/>
      <dgm:t>
        <a:bodyPr/>
        <a:lstStyle/>
        <a:p>
          <a:endParaRPr lang="en-US"/>
        </a:p>
      </dgm:t>
    </dgm:pt>
    <dgm:pt modelId="{B83ADF1F-AAEF-468C-BA55-2A50AF4A6686}">
      <dgm:prSet phldrT="[Text]"/>
      <dgm:spPr/>
      <dgm:t>
        <a:bodyPr anchor="ctr"/>
        <a:lstStyle/>
        <a:p>
          <a:r>
            <a:rPr lang="en-US" dirty="0"/>
            <a:t>TDS Enhancements</a:t>
          </a:r>
        </a:p>
      </dgm:t>
    </dgm:pt>
    <dgm:pt modelId="{B040541F-9D80-4568-965D-A7597EA81656}" type="parTrans" cxnId="{5F43EE64-1940-4187-8BF3-307D4A3DBB0E}">
      <dgm:prSet/>
      <dgm:spPr/>
      <dgm:t>
        <a:bodyPr/>
        <a:lstStyle/>
        <a:p>
          <a:endParaRPr lang="en-US"/>
        </a:p>
      </dgm:t>
    </dgm:pt>
    <dgm:pt modelId="{C44ABCF7-78B4-4BA7-BCF9-85A32ED08CCC}" type="sibTrans" cxnId="{5F43EE64-1940-4187-8BF3-307D4A3DBB0E}">
      <dgm:prSet/>
      <dgm:spPr/>
      <dgm:t>
        <a:bodyPr/>
        <a:lstStyle/>
        <a:p>
          <a:endParaRPr lang="en-US"/>
        </a:p>
      </dgm:t>
    </dgm:pt>
    <dgm:pt modelId="{C8935E0F-218B-46E8-AD62-6C2052D91030}" type="pres">
      <dgm:prSet presAssocID="{AC08E11E-5ECC-4953-80DA-DBA2250A47E2}" presName="linear" presStyleCnt="0">
        <dgm:presLayoutVars>
          <dgm:animLvl val="lvl"/>
          <dgm:resizeHandles val="exact"/>
        </dgm:presLayoutVars>
      </dgm:prSet>
      <dgm:spPr/>
    </dgm:pt>
    <dgm:pt modelId="{D16490D8-56F5-4CDE-9018-34B0770F3051}" type="pres">
      <dgm:prSet presAssocID="{C4246216-108C-4028-8382-E54F3C070CA1}" presName="parentText" presStyleLbl="node1" presStyleIdx="0" presStyleCnt="6">
        <dgm:presLayoutVars>
          <dgm:chMax val="0"/>
          <dgm:bulletEnabled val="1"/>
        </dgm:presLayoutVars>
      </dgm:prSet>
      <dgm:spPr/>
    </dgm:pt>
    <dgm:pt modelId="{01A55C70-0311-42F0-9EAB-69EE5F452FE0}" type="pres">
      <dgm:prSet presAssocID="{A7065032-DD2E-4CEB-BE58-2B000C9C5881}" presName="spacer" presStyleCnt="0"/>
      <dgm:spPr/>
    </dgm:pt>
    <dgm:pt modelId="{AB804FAE-2B08-4156-92C3-093D367C72D8}" type="pres">
      <dgm:prSet presAssocID="{B83ADF1F-AAEF-468C-BA55-2A50AF4A6686}" presName="parentText" presStyleLbl="node1" presStyleIdx="1" presStyleCnt="6">
        <dgm:presLayoutVars>
          <dgm:chMax val="0"/>
          <dgm:bulletEnabled val="1"/>
        </dgm:presLayoutVars>
      </dgm:prSet>
      <dgm:spPr/>
    </dgm:pt>
    <dgm:pt modelId="{973854D8-B833-467E-A24F-36C941497C6F}" type="pres">
      <dgm:prSet presAssocID="{C44ABCF7-78B4-4BA7-BCF9-85A32ED08CCC}" presName="spacer" presStyleCnt="0"/>
      <dgm:spPr/>
    </dgm:pt>
    <dgm:pt modelId="{88AE3BA1-C5E6-483D-8325-2F97E99D008C}" type="pres">
      <dgm:prSet presAssocID="{E7BCF7B0-1968-4AFD-829D-BFC1F6002619}" presName="parentText" presStyleLbl="node1" presStyleIdx="2" presStyleCnt="6">
        <dgm:presLayoutVars>
          <dgm:chMax val="0"/>
          <dgm:bulletEnabled val="1"/>
        </dgm:presLayoutVars>
      </dgm:prSet>
      <dgm:spPr/>
    </dgm:pt>
    <dgm:pt modelId="{E7FF508F-65A4-4D22-B974-4848A1CB5C37}" type="pres">
      <dgm:prSet presAssocID="{1354B431-A216-44EC-8B62-3F6F7B70768A}" presName="spacer" presStyleCnt="0"/>
      <dgm:spPr/>
    </dgm:pt>
    <dgm:pt modelId="{5FE4BFEE-269B-456E-8FBB-55BBA1F33EFC}" type="pres">
      <dgm:prSet presAssocID="{C4AD7C9F-DB26-4BCD-90A4-E7E8F6FB5DA8}" presName="parentText" presStyleLbl="node1" presStyleIdx="3" presStyleCnt="6">
        <dgm:presLayoutVars>
          <dgm:chMax val="0"/>
          <dgm:bulletEnabled val="1"/>
        </dgm:presLayoutVars>
      </dgm:prSet>
      <dgm:spPr/>
    </dgm:pt>
    <dgm:pt modelId="{A75E89BE-6860-478A-8284-E1EA943E9F79}" type="pres">
      <dgm:prSet presAssocID="{D399510A-C23E-474D-92F4-4156EE771A1E}" presName="spacer" presStyleCnt="0"/>
      <dgm:spPr/>
    </dgm:pt>
    <dgm:pt modelId="{46492720-1D16-4BA8-989D-E1F1EDD1CC03}" type="pres">
      <dgm:prSet presAssocID="{3AEABBA9-CC1F-4CF1-8396-9A106A5EC0A7}" presName="parentText" presStyleLbl="node1" presStyleIdx="4" presStyleCnt="6">
        <dgm:presLayoutVars>
          <dgm:chMax val="0"/>
          <dgm:bulletEnabled val="1"/>
        </dgm:presLayoutVars>
      </dgm:prSet>
      <dgm:spPr/>
    </dgm:pt>
    <dgm:pt modelId="{32AA7C6A-8F4C-4790-97EA-0D190C50FE77}" type="pres">
      <dgm:prSet presAssocID="{7263A32B-17EC-4A72-8440-48DB8CD4D82C}" presName="spacer" presStyleCnt="0"/>
      <dgm:spPr/>
    </dgm:pt>
    <dgm:pt modelId="{C7A4B0B7-E5D6-43D1-A3D5-53A7E56D4A0B}" type="pres">
      <dgm:prSet presAssocID="{E5F1B890-BD51-4BDC-B8EE-43B2E96C778A}" presName="parentText" presStyleLbl="node1" presStyleIdx="5" presStyleCnt="6" custLinFactNeighborX="-355">
        <dgm:presLayoutVars>
          <dgm:chMax val="0"/>
          <dgm:bulletEnabled val="1"/>
        </dgm:presLayoutVars>
      </dgm:prSet>
      <dgm:spPr/>
    </dgm:pt>
  </dgm:ptLst>
  <dgm:cxnLst>
    <dgm:cxn modelId="{CEB61608-DCE9-2745-93F6-7976CE79AAD0}" type="presOf" srcId="{E7BCF7B0-1968-4AFD-829D-BFC1F6002619}" destId="{88AE3BA1-C5E6-483D-8325-2F97E99D008C}" srcOrd="0" destOrd="0" presId="urn:microsoft.com/office/officeart/2005/8/layout/vList2"/>
    <dgm:cxn modelId="{E62E4319-B03F-4848-8A84-7F538A9B6336}" type="presOf" srcId="{C4246216-108C-4028-8382-E54F3C070CA1}" destId="{D16490D8-56F5-4CDE-9018-34B0770F3051}" srcOrd="0" destOrd="0" presId="urn:microsoft.com/office/officeart/2005/8/layout/vList2"/>
    <dgm:cxn modelId="{57956A24-8612-426D-B8A0-E9DCE9862ECC}" srcId="{AC08E11E-5ECC-4953-80DA-DBA2250A47E2}" destId="{E7BCF7B0-1968-4AFD-829D-BFC1F6002619}" srcOrd="2" destOrd="0" parTransId="{29DF355B-53C2-4975-B45B-0BE03B06B4F6}" sibTransId="{1354B431-A216-44EC-8B62-3F6F7B70768A}"/>
    <dgm:cxn modelId="{5F43EE64-1940-4187-8BF3-307D4A3DBB0E}" srcId="{AC08E11E-5ECC-4953-80DA-DBA2250A47E2}" destId="{B83ADF1F-AAEF-468C-BA55-2A50AF4A6686}" srcOrd="1" destOrd="0" parTransId="{B040541F-9D80-4568-965D-A7597EA81656}" sibTransId="{C44ABCF7-78B4-4BA7-BCF9-85A32ED08CCC}"/>
    <dgm:cxn modelId="{BE2EDB56-CABA-421F-BF83-BF0D8FDE5919}" type="presOf" srcId="{B83ADF1F-AAEF-468C-BA55-2A50AF4A6686}" destId="{AB804FAE-2B08-4156-92C3-093D367C72D8}" srcOrd="0" destOrd="0" presId="urn:microsoft.com/office/officeart/2005/8/layout/vList2"/>
    <dgm:cxn modelId="{38264E7A-D446-5D4E-AD70-FF53645F9407}" type="presOf" srcId="{AC08E11E-5ECC-4953-80DA-DBA2250A47E2}" destId="{C8935E0F-218B-46E8-AD62-6C2052D91030}" srcOrd="0" destOrd="0" presId="urn:microsoft.com/office/officeart/2005/8/layout/vList2"/>
    <dgm:cxn modelId="{8E3D108D-CF77-3C4C-9F6A-4585453385A3}" type="presOf" srcId="{3AEABBA9-CC1F-4CF1-8396-9A106A5EC0A7}" destId="{46492720-1D16-4BA8-989D-E1F1EDD1CC03}" srcOrd="0" destOrd="0" presId="urn:microsoft.com/office/officeart/2005/8/layout/vList2"/>
    <dgm:cxn modelId="{F220E78E-7A84-BF43-9CD8-C3E4BBDF65F4}" type="presOf" srcId="{C4AD7C9F-DB26-4BCD-90A4-E7E8F6FB5DA8}" destId="{5FE4BFEE-269B-456E-8FBB-55BBA1F33EFC}" srcOrd="0" destOrd="0" presId="urn:microsoft.com/office/officeart/2005/8/layout/vList2"/>
    <dgm:cxn modelId="{8776E595-0BEE-45F4-8173-72BDFDDD4745}" srcId="{AC08E11E-5ECC-4953-80DA-DBA2250A47E2}" destId="{C4AD7C9F-DB26-4BCD-90A4-E7E8F6FB5DA8}" srcOrd="3" destOrd="0" parTransId="{871637C4-2853-4574-8CC3-5F7E9986724F}" sibTransId="{D399510A-C23E-474D-92F4-4156EE771A1E}"/>
    <dgm:cxn modelId="{6A7BCFC3-0DF0-3A4D-BD37-C894037F69D8}" srcId="{AC08E11E-5ECC-4953-80DA-DBA2250A47E2}" destId="{E5F1B890-BD51-4BDC-B8EE-43B2E96C778A}" srcOrd="5" destOrd="0" parTransId="{924A94DE-AD36-45B9-83A0-28DF590BEF63}" sibTransId="{25F6F0B8-0392-4083-9975-7D02191071B2}"/>
    <dgm:cxn modelId="{7A024EC6-077E-E543-BE98-2F0C70E5D11A}" srcId="{AC08E11E-5ECC-4953-80DA-DBA2250A47E2}" destId="{3AEABBA9-CC1F-4CF1-8396-9A106A5EC0A7}" srcOrd="4" destOrd="0" parTransId="{F94F52C0-344F-40EC-8079-7D7CD9CADD93}" sibTransId="{7263A32B-17EC-4A72-8440-48DB8CD4D82C}"/>
    <dgm:cxn modelId="{CA4FAFC6-BDFF-BE4C-BE32-00F3415FA50B}" type="presOf" srcId="{E5F1B890-BD51-4BDC-B8EE-43B2E96C778A}" destId="{C7A4B0B7-E5D6-43D1-A3D5-53A7E56D4A0B}" srcOrd="0" destOrd="0" presId="urn:microsoft.com/office/officeart/2005/8/layout/vList2"/>
    <dgm:cxn modelId="{C683EDE7-AA3E-4036-8050-B80F7718B6C6}" srcId="{AC08E11E-5ECC-4953-80DA-DBA2250A47E2}" destId="{C4246216-108C-4028-8382-E54F3C070CA1}" srcOrd="0" destOrd="0" parTransId="{B19E0FD8-F543-440D-9579-C4351D6785A5}" sibTransId="{A7065032-DD2E-4CEB-BE58-2B000C9C5881}"/>
    <dgm:cxn modelId="{115920E4-823E-6947-A535-DD0735CDA970}" type="presParOf" srcId="{C8935E0F-218B-46E8-AD62-6C2052D91030}" destId="{D16490D8-56F5-4CDE-9018-34B0770F3051}" srcOrd="0" destOrd="0" presId="urn:microsoft.com/office/officeart/2005/8/layout/vList2"/>
    <dgm:cxn modelId="{A2A437F8-01D9-F549-9E3D-3CCEE460B6AA}" type="presParOf" srcId="{C8935E0F-218B-46E8-AD62-6C2052D91030}" destId="{01A55C70-0311-42F0-9EAB-69EE5F452FE0}" srcOrd="1" destOrd="0" presId="urn:microsoft.com/office/officeart/2005/8/layout/vList2"/>
    <dgm:cxn modelId="{D8830F2E-4FBB-4580-BAA6-807FCD06578D}" type="presParOf" srcId="{C8935E0F-218B-46E8-AD62-6C2052D91030}" destId="{AB804FAE-2B08-4156-92C3-093D367C72D8}" srcOrd="2" destOrd="0" presId="urn:microsoft.com/office/officeart/2005/8/layout/vList2"/>
    <dgm:cxn modelId="{FFA17734-C1BA-41DB-AE10-73BBBD3D7481}" type="presParOf" srcId="{C8935E0F-218B-46E8-AD62-6C2052D91030}" destId="{973854D8-B833-467E-A24F-36C941497C6F}" srcOrd="3" destOrd="0" presId="urn:microsoft.com/office/officeart/2005/8/layout/vList2"/>
    <dgm:cxn modelId="{AE323AE6-A939-0C40-B7B6-C88DC3AE4DA8}" type="presParOf" srcId="{C8935E0F-218B-46E8-AD62-6C2052D91030}" destId="{88AE3BA1-C5E6-483D-8325-2F97E99D008C}" srcOrd="4" destOrd="0" presId="urn:microsoft.com/office/officeart/2005/8/layout/vList2"/>
    <dgm:cxn modelId="{BF2661EF-C0E2-9D45-A80C-EB31C954EF45}" type="presParOf" srcId="{C8935E0F-218B-46E8-AD62-6C2052D91030}" destId="{E7FF508F-65A4-4D22-B974-4848A1CB5C37}" srcOrd="5" destOrd="0" presId="urn:microsoft.com/office/officeart/2005/8/layout/vList2"/>
    <dgm:cxn modelId="{5F4072E7-87EF-664E-97B6-B062FE8A66F3}" type="presParOf" srcId="{C8935E0F-218B-46E8-AD62-6C2052D91030}" destId="{5FE4BFEE-269B-456E-8FBB-55BBA1F33EFC}" srcOrd="6" destOrd="0" presId="urn:microsoft.com/office/officeart/2005/8/layout/vList2"/>
    <dgm:cxn modelId="{89AAED44-835E-E048-8B94-76BDE93C23EC}" type="presParOf" srcId="{C8935E0F-218B-46E8-AD62-6C2052D91030}" destId="{A75E89BE-6860-478A-8284-E1EA943E9F79}" srcOrd="7" destOrd="0" presId="urn:microsoft.com/office/officeart/2005/8/layout/vList2"/>
    <dgm:cxn modelId="{968C6F85-E580-184D-A8AF-1976F680415B}" type="presParOf" srcId="{C8935E0F-218B-46E8-AD62-6C2052D91030}" destId="{46492720-1D16-4BA8-989D-E1F1EDD1CC03}" srcOrd="8" destOrd="0" presId="urn:microsoft.com/office/officeart/2005/8/layout/vList2"/>
    <dgm:cxn modelId="{F22E7556-AC6D-9C4F-869C-0181FB917694}" type="presParOf" srcId="{C8935E0F-218B-46E8-AD62-6C2052D91030}" destId="{32AA7C6A-8F4C-4790-97EA-0D190C50FE77}" srcOrd="9" destOrd="0" presId="urn:microsoft.com/office/officeart/2005/8/layout/vList2"/>
    <dgm:cxn modelId="{54BC49DB-33AE-1841-99A3-9551CCCF7E19}" type="presParOf" srcId="{C8935E0F-218B-46E8-AD62-6C2052D91030}" destId="{C7A4B0B7-E5D6-43D1-A3D5-53A7E56D4A0B}"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09C7624-1F69-4CDC-8AE0-2CB2EC24C53F}"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77C0318C-9862-4EDE-9AEF-31E242ED5790}">
      <dgm:prSet phldrT="[Text]" custT="1"/>
      <dgm:spPr/>
      <dgm:t>
        <a:bodyPr/>
        <a:lstStyle/>
        <a:p>
          <a:r>
            <a:rPr lang="en-US" sz="2000"/>
            <a:t>Minimize Distractions</a:t>
          </a:r>
        </a:p>
      </dgm:t>
    </dgm:pt>
    <dgm:pt modelId="{7A882FD7-046D-46B9-9E9D-E23F778DB9AB}" type="parTrans" cxnId="{2C4B2A94-4DD9-4245-A7D6-2025F3D50F5E}">
      <dgm:prSet/>
      <dgm:spPr/>
      <dgm:t>
        <a:bodyPr/>
        <a:lstStyle/>
        <a:p>
          <a:endParaRPr lang="en-US"/>
        </a:p>
      </dgm:t>
    </dgm:pt>
    <dgm:pt modelId="{05522012-E7A7-4107-9C9E-C2196068C014}" type="sibTrans" cxnId="{2C4B2A94-4DD9-4245-A7D6-2025F3D50F5E}">
      <dgm:prSet/>
      <dgm:spPr/>
      <dgm:t>
        <a:bodyPr/>
        <a:lstStyle/>
        <a:p>
          <a:endParaRPr lang="en-US"/>
        </a:p>
      </dgm:t>
    </dgm:pt>
    <dgm:pt modelId="{BFAA64F7-9CFB-435C-A7C9-45280C6204A4}">
      <dgm:prSet custT="1"/>
      <dgm:spPr/>
      <dgm:t>
        <a:bodyPr/>
        <a:lstStyle/>
        <a:p>
          <a:pPr rtl="0"/>
          <a:r>
            <a:rPr lang="en-US" sz="2000"/>
            <a:t>Photocopying or Enlarging Non-Secure Test Materials</a:t>
          </a:r>
          <a:r>
            <a:rPr lang="en-US" sz="2000">
              <a:latin typeface="Calibri Light" panose="020F0302020204030204"/>
            </a:rPr>
            <a:t> </a:t>
          </a:r>
          <a:endParaRPr lang="en-US" sz="2000"/>
        </a:p>
      </dgm:t>
    </dgm:pt>
    <dgm:pt modelId="{A7990FBA-135D-47D6-AC4C-FD265F0355B8}" type="parTrans" cxnId="{15CE50A3-4733-43B4-8978-CBDAFDC38445}">
      <dgm:prSet/>
      <dgm:spPr/>
      <dgm:t>
        <a:bodyPr/>
        <a:lstStyle/>
        <a:p>
          <a:endParaRPr lang="en-US"/>
        </a:p>
      </dgm:t>
    </dgm:pt>
    <dgm:pt modelId="{52B2A238-077A-4F14-948E-48738788F06A}" type="sibTrans" cxnId="{15CE50A3-4733-43B4-8978-CBDAFDC38445}">
      <dgm:prSet/>
      <dgm:spPr/>
      <dgm:t>
        <a:bodyPr/>
        <a:lstStyle/>
        <a:p>
          <a:endParaRPr lang="en-US"/>
        </a:p>
      </dgm:t>
    </dgm:pt>
    <dgm:pt modelId="{B3A41C17-513B-4F3E-97D6-2AF9BBB7B15B}">
      <dgm:prSet custT="1"/>
      <dgm:spPr/>
      <dgm:t>
        <a:bodyPr/>
        <a:lstStyle/>
        <a:p>
          <a:pPr rtl="0"/>
          <a:r>
            <a:rPr lang="en-US" sz="2000"/>
            <a:t>Place Marker (Blank)</a:t>
          </a:r>
          <a:r>
            <a:rPr lang="en-US" sz="2000">
              <a:latin typeface="Calibri Light" panose="020F0302020204030204"/>
            </a:rPr>
            <a:t> </a:t>
          </a:r>
          <a:endParaRPr lang="en-US" sz="2000"/>
        </a:p>
      </dgm:t>
    </dgm:pt>
    <dgm:pt modelId="{869BAB23-BD73-4A2A-82DE-8521AE7617B3}" type="parTrans" cxnId="{5D2D5FCD-CC7F-4F16-A81C-5F708C62FDC8}">
      <dgm:prSet/>
      <dgm:spPr/>
      <dgm:t>
        <a:bodyPr/>
        <a:lstStyle/>
        <a:p>
          <a:endParaRPr lang="en-US"/>
        </a:p>
      </dgm:t>
    </dgm:pt>
    <dgm:pt modelId="{515FD4EB-EF2C-4FBE-8EF6-66056B8D0FF6}" type="sibTrans" cxnId="{5D2D5FCD-CC7F-4F16-A81C-5F708C62FDC8}">
      <dgm:prSet/>
      <dgm:spPr/>
      <dgm:t>
        <a:bodyPr/>
        <a:lstStyle/>
        <a:p>
          <a:endParaRPr lang="en-US"/>
        </a:p>
      </dgm:t>
    </dgm:pt>
    <dgm:pt modelId="{234768DF-1F57-4BAE-A92B-65373C410ACB}">
      <dgm:prSet custT="1"/>
      <dgm:spPr/>
      <dgm:t>
        <a:bodyPr/>
        <a:lstStyle/>
        <a:p>
          <a:pPr rtl="0"/>
          <a:r>
            <a:rPr lang="en-US" sz="2000"/>
            <a:t>Projection Devices</a:t>
          </a:r>
          <a:r>
            <a:rPr lang="en-US" sz="2000">
              <a:latin typeface="Calibri Light" panose="020F0302020204030204"/>
            </a:rPr>
            <a:t> </a:t>
          </a:r>
          <a:endParaRPr lang="en-US" sz="2000"/>
        </a:p>
      </dgm:t>
    </dgm:pt>
    <dgm:pt modelId="{BE1BD166-4D13-46F1-AD0B-47378C65D53F}" type="parTrans" cxnId="{E920C7C5-6B55-4317-97CA-1B0DAB29BE88}">
      <dgm:prSet/>
      <dgm:spPr/>
      <dgm:t>
        <a:bodyPr/>
        <a:lstStyle/>
        <a:p>
          <a:endParaRPr lang="en-US"/>
        </a:p>
      </dgm:t>
    </dgm:pt>
    <dgm:pt modelId="{F62D0522-3549-41D0-BAD6-010C1347105F}" type="sibTrans" cxnId="{E920C7C5-6B55-4317-97CA-1B0DAB29BE88}">
      <dgm:prSet/>
      <dgm:spPr/>
      <dgm:t>
        <a:bodyPr/>
        <a:lstStyle/>
        <a:p>
          <a:endParaRPr lang="en-US"/>
        </a:p>
      </dgm:t>
    </dgm:pt>
    <dgm:pt modelId="{D0F35A8D-36F8-4350-ADEB-1D142C725A80}">
      <dgm:prSet phldrT="[Text]" custT="1"/>
      <dgm:spPr/>
      <dgm:t>
        <a:bodyPr/>
        <a:lstStyle/>
        <a:p>
          <a:pPr rtl="0">
            <a:buClr>
              <a:srgbClr val="F16038"/>
            </a:buClr>
            <a:buFont typeface="Wingdings" panose="05000000000000000000" pitchFamily="2" charset="2"/>
            <a:buChar char="§"/>
          </a:pPr>
          <a:r>
            <a:rPr lang="en-US" sz="2000"/>
            <a:t>e.g., stress ball, headphones, instrumental music</a:t>
          </a:r>
          <a:r>
            <a:rPr lang="en-US" sz="2000">
              <a:latin typeface="Calibri Light" panose="020F0302020204030204"/>
            </a:rPr>
            <a:t> </a:t>
          </a:r>
          <a:endParaRPr lang="en-US" sz="2000"/>
        </a:p>
      </dgm:t>
    </dgm:pt>
    <dgm:pt modelId="{2D336B35-9C4A-4AFA-AAB3-3065B102C937}" type="parTrans" cxnId="{AEFC1F16-2F77-44D4-A861-73839237C44D}">
      <dgm:prSet/>
      <dgm:spPr/>
      <dgm:t>
        <a:bodyPr/>
        <a:lstStyle/>
        <a:p>
          <a:endParaRPr lang="en-US"/>
        </a:p>
      </dgm:t>
    </dgm:pt>
    <dgm:pt modelId="{BA29AAD8-F529-4C5E-8C9B-D6BFD9A1F5AF}" type="sibTrans" cxnId="{AEFC1F16-2F77-44D4-A861-73839237C44D}">
      <dgm:prSet/>
      <dgm:spPr/>
      <dgm:t>
        <a:bodyPr/>
        <a:lstStyle/>
        <a:p>
          <a:endParaRPr lang="en-US"/>
        </a:p>
      </dgm:t>
    </dgm:pt>
    <dgm:pt modelId="{0DB64AA7-23CB-444C-AB30-5A53CA474E20}">
      <dgm:prSet custT="1"/>
      <dgm:spPr/>
      <dgm:t>
        <a:bodyPr/>
        <a:lstStyle/>
        <a:p>
          <a:pPr>
            <a:buClr>
              <a:srgbClr val="F16038"/>
            </a:buClr>
            <a:buFont typeface="Wingdings" panose="05000000000000000000" pitchFamily="2" charset="2"/>
            <a:buChar char="§"/>
          </a:pPr>
          <a:r>
            <a:rPr lang="en-US" sz="2000"/>
            <a:t>e.g., test administration directions, state-supplied graph paper, state-supplied reference materials</a:t>
          </a:r>
        </a:p>
      </dgm:t>
    </dgm:pt>
    <dgm:pt modelId="{7919F149-947A-4B41-B82B-BCEDEC90AA12}" type="parTrans" cxnId="{B415A4E9-0785-4103-9B62-575693958589}">
      <dgm:prSet/>
      <dgm:spPr/>
      <dgm:t>
        <a:bodyPr/>
        <a:lstStyle/>
        <a:p>
          <a:endParaRPr lang="en-US"/>
        </a:p>
      </dgm:t>
    </dgm:pt>
    <dgm:pt modelId="{20DA3448-8336-45B2-B608-814E642D088F}" type="sibTrans" cxnId="{B415A4E9-0785-4103-9B62-575693958589}">
      <dgm:prSet/>
      <dgm:spPr/>
      <dgm:t>
        <a:bodyPr/>
        <a:lstStyle/>
        <a:p>
          <a:endParaRPr lang="en-US"/>
        </a:p>
      </dgm:t>
    </dgm:pt>
    <dgm:pt modelId="{996EDCE0-27D4-49E2-A721-C92643ABA1FF}">
      <dgm:prSet custT="1"/>
      <dgm:spPr/>
      <dgm:t>
        <a:bodyPr/>
        <a:lstStyle/>
        <a:p>
          <a:pPr>
            <a:buClr>
              <a:srgbClr val="F16038"/>
            </a:buClr>
            <a:buFont typeface="Wingdings" panose="05000000000000000000" pitchFamily="2" charset="2"/>
            <a:buChar char="§"/>
          </a:pPr>
          <a:r>
            <a:rPr lang="en-US" sz="2000"/>
            <a:t>e.g., closed-circuit televisions [CCTVs] or liquid crystal display [LCD] projectors for online tests</a:t>
          </a:r>
        </a:p>
      </dgm:t>
    </dgm:pt>
    <dgm:pt modelId="{6D502297-B7FD-4F95-82C0-0C503F3F0E76}" type="parTrans" cxnId="{4AFB7C81-FB32-4ECA-A829-B348FE685C69}">
      <dgm:prSet/>
      <dgm:spPr/>
      <dgm:t>
        <a:bodyPr/>
        <a:lstStyle/>
        <a:p>
          <a:endParaRPr lang="en-US"/>
        </a:p>
      </dgm:t>
    </dgm:pt>
    <dgm:pt modelId="{516A0682-D7CA-4CA4-8E5E-A695FF98B118}" type="sibTrans" cxnId="{4AFB7C81-FB32-4ECA-A829-B348FE685C69}">
      <dgm:prSet/>
      <dgm:spPr/>
      <dgm:t>
        <a:bodyPr/>
        <a:lstStyle/>
        <a:p>
          <a:endParaRPr lang="en-US"/>
        </a:p>
      </dgm:t>
    </dgm:pt>
    <dgm:pt modelId="{C7B815B8-E06E-46E9-89F1-17BEEEEDDEC6}" type="pres">
      <dgm:prSet presAssocID="{909C7624-1F69-4CDC-8AE0-2CB2EC24C53F}" presName="linear" presStyleCnt="0">
        <dgm:presLayoutVars>
          <dgm:dir/>
          <dgm:animLvl val="lvl"/>
          <dgm:resizeHandles val="exact"/>
        </dgm:presLayoutVars>
      </dgm:prSet>
      <dgm:spPr/>
    </dgm:pt>
    <dgm:pt modelId="{351170EF-8128-4D03-9CC2-4FEFD0251BB2}" type="pres">
      <dgm:prSet presAssocID="{77C0318C-9862-4EDE-9AEF-31E242ED5790}" presName="parentLin" presStyleCnt="0"/>
      <dgm:spPr/>
    </dgm:pt>
    <dgm:pt modelId="{7B09038B-3C92-4972-B7CD-F241875EEFFF}" type="pres">
      <dgm:prSet presAssocID="{77C0318C-9862-4EDE-9AEF-31E242ED5790}" presName="parentLeftMargin" presStyleLbl="node1" presStyleIdx="0" presStyleCnt="4"/>
      <dgm:spPr/>
    </dgm:pt>
    <dgm:pt modelId="{181A1799-AA6A-4E1E-A08B-70CCE6F0AFED}" type="pres">
      <dgm:prSet presAssocID="{77C0318C-9862-4EDE-9AEF-31E242ED5790}" presName="parentText" presStyleLbl="node1" presStyleIdx="0" presStyleCnt="4">
        <dgm:presLayoutVars>
          <dgm:chMax val="0"/>
          <dgm:bulletEnabled val="1"/>
        </dgm:presLayoutVars>
      </dgm:prSet>
      <dgm:spPr/>
    </dgm:pt>
    <dgm:pt modelId="{E3E0F7B1-0959-4333-980E-E19BA34D57B2}" type="pres">
      <dgm:prSet presAssocID="{77C0318C-9862-4EDE-9AEF-31E242ED5790}" presName="negativeSpace" presStyleCnt="0"/>
      <dgm:spPr/>
    </dgm:pt>
    <dgm:pt modelId="{C0E3BF1D-5F44-4AB0-BAAA-806A265C9232}" type="pres">
      <dgm:prSet presAssocID="{77C0318C-9862-4EDE-9AEF-31E242ED5790}" presName="childText" presStyleLbl="conFgAcc1" presStyleIdx="0" presStyleCnt="4">
        <dgm:presLayoutVars>
          <dgm:bulletEnabled val="1"/>
        </dgm:presLayoutVars>
      </dgm:prSet>
      <dgm:spPr/>
    </dgm:pt>
    <dgm:pt modelId="{B600BFDE-79F3-40DE-A380-370053215B89}" type="pres">
      <dgm:prSet presAssocID="{05522012-E7A7-4107-9C9E-C2196068C014}" presName="spaceBetweenRectangles" presStyleCnt="0"/>
      <dgm:spPr/>
    </dgm:pt>
    <dgm:pt modelId="{95898165-E92E-42E8-A35D-465EAA10CDC5}" type="pres">
      <dgm:prSet presAssocID="{BFAA64F7-9CFB-435C-A7C9-45280C6204A4}" presName="parentLin" presStyleCnt="0"/>
      <dgm:spPr/>
    </dgm:pt>
    <dgm:pt modelId="{51EC9139-B005-4C9E-8465-8972057FB8F1}" type="pres">
      <dgm:prSet presAssocID="{BFAA64F7-9CFB-435C-A7C9-45280C6204A4}" presName="parentLeftMargin" presStyleLbl="node1" presStyleIdx="0" presStyleCnt="4"/>
      <dgm:spPr/>
    </dgm:pt>
    <dgm:pt modelId="{96B7FA2E-E76C-4C2A-9AEF-75C586248792}" type="pres">
      <dgm:prSet presAssocID="{BFAA64F7-9CFB-435C-A7C9-45280C6204A4}" presName="parentText" presStyleLbl="node1" presStyleIdx="1" presStyleCnt="4">
        <dgm:presLayoutVars>
          <dgm:chMax val="0"/>
          <dgm:bulletEnabled val="1"/>
        </dgm:presLayoutVars>
      </dgm:prSet>
      <dgm:spPr/>
    </dgm:pt>
    <dgm:pt modelId="{7B0698A8-7BBA-4D3B-801D-10ECC4D9256C}" type="pres">
      <dgm:prSet presAssocID="{BFAA64F7-9CFB-435C-A7C9-45280C6204A4}" presName="negativeSpace" presStyleCnt="0"/>
      <dgm:spPr/>
    </dgm:pt>
    <dgm:pt modelId="{FE1AF76A-D9DA-4723-96F5-F45513396C1B}" type="pres">
      <dgm:prSet presAssocID="{BFAA64F7-9CFB-435C-A7C9-45280C6204A4}" presName="childText" presStyleLbl="conFgAcc1" presStyleIdx="1" presStyleCnt="4">
        <dgm:presLayoutVars>
          <dgm:bulletEnabled val="1"/>
        </dgm:presLayoutVars>
      </dgm:prSet>
      <dgm:spPr/>
    </dgm:pt>
    <dgm:pt modelId="{BE5610A1-14FD-4ECB-9655-FDC3E0D44E7D}" type="pres">
      <dgm:prSet presAssocID="{52B2A238-077A-4F14-948E-48738788F06A}" presName="spaceBetweenRectangles" presStyleCnt="0"/>
      <dgm:spPr/>
    </dgm:pt>
    <dgm:pt modelId="{ACCFDD86-012F-495F-9B6F-EA493B9D8E8B}" type="pres">
      <dgm:prSet presAssocID="{B3A41C17-513B-4F3E-97D6-2AF9BBB7B15B}" presName="parentLin" presStyleCnt="0"/>
      <dgm:spPr/>
    </dgm:pt>
    <dgm:pt modelId="{94643564-5805-494F-980E-0BAB5BEB5257}" type="pres">
      <dgm:prSet presAssocID="{B3A41C17-513B-4F3E-97D6-2AF9BBB7B15B}" presName="parentLeftMargin" presStyleLbl="node1" presStyleIdx="1" presStyleCnt="4"/>
      <dgm:spPr/>
    </dgm:pt>
    <dgm:pt modelId="{1B74828F-6B50-47A4-8E2C-2567A239794C}" type="pres">
      <dgm:prSet presAssocID="{B3A41C17-513B-4F3E-97D6-2AF9BBB7B15B}" presName="parentText" presStyleLbl="node1" presStyleIdx="2" presStyleCnt="4">
        <dgm:presLayoutVars>
          <dgm:chMax val="0"/>
          <dgm:bulletEnabled val="1"/>
        </dgm:presLayoutVars>
      </dgm:prSet>
      <dgm:spPr/>
    </dgm:pt>
    <dgm:pt modelId="{2E4331E7-23CD-48C3-84C7-3ECE90428ACE}" type="pres">
      <dgm:prSet presAssocID="{B3A41C17-513B-4F3E-97D6-2AF9BBB7B15B}" presName="negativeSpace" presStyleCnt="0"/>
      <dgm:spPr/>
    </dgm:pt>
    <dgm:pt modelId="{DD52F6B0-320E-46A1-AED3-A9C0FE5FEFFD}" type="pres">
      <dgm:prSet presAssocID="{B3A41C17-513B-4F3E-97D6-2AF9BBB7B15B}" presName="childText" presStyleLbl="conFgAcc1" presStyleIdx="2" presStyleCnt="4">
        <dgm:presLayoutVars>
          <dgm:bulletEnabled val="1"/>
        </dgm:presLayoutVars>
      </dgm:prSet>
      <dgm:spPr/>
    </dgm:pt>
    <dgm:pt modelId="{84516FA9-EE0A-4E9C-ACFB-AFCF1A744779}" type="pres">
      <dgm:prSet presAssocID="{515FD4EB-EF2C-4FBE-8EF6-66056B8D0FF6}" presName="spaceBetweenRectangles" presStyleCnt="0"/>
      <dgm:spPr/>
    </dgm:pt>
    <dgm:pt modelId="{52787424-995A-4FA3-827F-0B8D0A348A7C}" type="pres">
      <dgm:prSet presAssocID="{234768DF-1F57-4BAE-A92B-65373C410ACB}" presName="parentLin" presStyleCnt="0"/>
      <dgm:spPr/>
    </dgm:pt>
    <dgm:pt modelId="{9926F46D-34D6-44CB-B52B-90A6D342E21C}" type="pres">
      <dgm:prSet presAssocID="{234768DF-1F57-4BAE-A92B-65373C410ACB}" presName="parentLeftMargin" presStyleLbl="node1" presStyleIdx="2" presStyleCnt="4"/>
      <dgm:spPr/>
    </dgm:pt>
    <dgm:pt modelId="{C370A106-9427-4BF8-BF88-CA6268C2280F}" type="pres">
      <dgm:prSet presAssocID="{234768DF-1F57-4BAE-A92B-65373C410ACB}" presName="parentText" presStyleLbl="node1" presStyleIdx="3" presStyleCnt="4">
        <dgm:presLayoutVars>
          <dgm:chMax val="0"/>
          <dgm:bulletEnabled val="1"/>
        </dgm:presLayoutVars>
      </dgm:prSet>
      <dgm:spPr/>
    </dgm:pt>
    <dgm:pt modelId="{A8ADC1B4-A100-4F58-A1CD-801F431838CF}" type="pres">
      <dgm:prSet presAssocID="{234768DF-1F57-4BAE-A92B-65373C410ACB}" presName="negativeSpace" presStyleCnt="0"/>
      <dgm:spPr/>
    </dgm:pt>
    <dgm:pt modelId="{E23B258F-ED18-4BF7-93CE-83BBAE4FA3BA}" type="pres">
      <dgm:prSet presAssocID="{234768DF-1F57-4BAE-A92B-65373C410ACB}" presName="childText" presStyleLbl="conFgAcc1" presStyleIdx="3" presStyleCnt="4">
        <dgm:presLayoutVars>
          <dgm:bulletEnabled val="1"/>
        </dgm:presLayoutVars>
      </dgm:prSet>
      <dgm:spPr/>
    </dgm:pt>
  </dgm:ptLst>
  <dgm:cxnLst>
    <dgm:cxn modelId="{7C57090D-A8DD-4387-A3F8-9B817D824659}" type="presOf" srcId="{234768DF-1F57-4BAE-A92B-65373C410ACB}" destId="{9926F46D-34D6-44CB-B52B-90A6D342E21C}" srcOrd="0" destOrd="0" presId="urn:microsoft.com/office/officeart/2005/8/layout/list1"/>
    <dgm:cxn modelId="{AEFC1F16-2F77-44D4-A861-73839237C44D}" srcId="{77C0318C-9862-4EDE-9AEF-31E242ED5790}" destId="{D0F35A8D-36F8-4350-ADEB-1D142C725A80}" srcOrd="0" destOrd="0" parTransId="{2D336B35-9C4A-4AFA-AAB3-3065B102C937}" sibTransId="{BA29AAD8-F529-4C5E-8C9B-D6BFD9A1F5AF}"/>
    <dgm:cxn modelId="{A121B738-1BC3-45A6-AD98-2149CA75C1EF}" type="presOf" srcId="{996EDCE0-27D4-49E2-A721-C92643ABA1FF}" destId="{E23B258F-ED18-4BF7-93CE-83BBAE4FA3BA}" srcOrd="0" destOrd="0" presId="urn:microsoft.com/office/officeart/2005/8/layout/list1"/>
    <dgm:cxn modelId="{DFA3FE47-884D-4A25-9C0E-8671FBAF1261}" type="presOf" srcId="{D0F35A8D-36F8-4350-ADEB-1D142C725A80}" destId="{C0E3BF1D-5F44-4AB0-BAAA-806A265C9232}" srcOrd="0" destOrd="0" presId="urn:microsoft.com/office/officeart/2005/8/layout/list1"/>
    <dgm:cxn modelId="{39B4FF6C-80AF-4505-B6F4-B8A26F43E59F}" type="presOf" srcId="{77C0318C-9862-4EDE-9AEF-31E242ED5790}" destId="{7B09038B-3C92-4972-B7CD-F241875EEFFF}" srcOrd="0" destOrd="0" presId="urn:microsoft.com/office/officeart/2005/8/layout/list1"/>
    <dgm:cxn modelId="{4AFB7C81-FB32-4ECA-A829-B348FE685C69}" srcId="{234768DF-1F57-4BAE-A92B-65373C410ACB}" destId="{996EDCE0-27D4-49E2-A721-C92643ABA1FF}" srcOrd="0" destOrd="0" parTransId="{6D502297-B7FD-4F95-82C0-0C503F3F0E76}" sibTransId="{516A0682-D7CA-4CA4-8E5E-A695FF98B118}"/>
    <dgm:cxn modelId="{0BDA3383-9549-44CC-8106-6466C8C090F0}" type="presOf" srcId="{0DB64AA7-23CB-444C-AB30-5A53CA474E20}" destId="{FE1AF76A-D9DA-4723-96F5-F45513396C1B}" srcOrd="0" destOrd="0" presId="urn:microsoft.com/office/officeart/2005/8/layout/list1"/>
    <dgm:cxn modelId="{D3736C87-4008-4980-B22E-6D4674B59455}" type="presOf" srcId="{B3A41C17-513B-4F3E-97D6-2AF9BBB7B15B}" destId="{1B74828F-6B50-47A4-8E2C-2567A239794C}" srcOrd="1" destOrd="0" presId="urn:microsoft.com/office/officeart/2005/8/layout/list1"/>
    <dgm:cxn modelId="{2C4B2A94-4DD9-4245-A7D6-2025F3D50F5E}" srcId="{909C7624-1F69-4CDC-8AE0-2CB2EC24C53F}" destId="{77C0318C-9862-4EDE-9AEF-31E242ED5790}" srcOrd="0" destOrd="0" parTransId="{7A882FD7-046D-46B9-9E9D-E23F778DB9AB}" sibTransId="{05522012-E7A7-4107-9C9E-C2196068C014}"/>
    <dgm:cxn modelId="{CD278197-DF0B-4CE9-A26D-36B94A849352}" type="presOf" srcId="{77C0318C-9862-4EDE-9AEF-31E242ED5790}" destId="{181A1799-AA6A-4E1E-A08B-70CCE6F0AFED}" srcOrd="1" destOrd="0" presId="urn:microsoft.com/office/officeart/2005/8/layout/list1"/>
    <dgm:cxn modelId="{15CE50A3-4733-43B4-8978-CBDAFDC38445}" srcId="{909C7624-1F69-4CDC-8AE0-2CB2EC24C53F}" destId="{BFAA64F7-9CFB-435C-A7C9-45280C6204A4}" srcOrd="1" destOrd="0" parTransId="{A7990FBA-135D-47D6-AC4C-FD265F0355B8}" sibTransId="{52B2A238-077A-4F14-948E-48738788F06A}"/>
    <dgm:cxn modelId="{FF1027A8-2347-48A1-86F0-74CE25D71CB2}" type="presOf" srcId="{B3A41C17-513B-4F3E-97D6-2AF9BBB7B15B}" destId="{94643564-5805-494F-980E-0BAB5BEB5257}" srcOrd="0" destOrd="0" presId="urn:microsoft.com/office/officeart/2005/8/layout/list1"/>
    <dgm:cxn modelId="{B31251B4-830E-4EF8-A7D1-480C51CE8A5A}" type="presOf" srcId="{234768DF-1F57-4BAE-A92B-65373C410ACB}" destId="{C370A106-9427-4BF8-BF88-CA6268C2280F}" srcOrd="1" destOrd="0" presId="urn:microsoft.com/office/officeart/2005/8/layout/list1"/>
    <dgm:cxn modelId="{3B8109BA-2512-43EF-A125-9D6510B84191}" type="presOf" srcId="{BFAA64F7-9CFB-435C-A7C9-45280C6204A4}" destId="{51EC9139-B005-4C9E-8465-8972057FB8F1}" srcOrd="0" destOrd="0" presId="urn:microsoft.com/office/officeart/2005/8/layout/list1"/>
    <dgm:cxn modelId="{E920C7C5-6B55-4317-97CA-1B0DAB29BE88}" srcId="{909C7624-1F69-4CDC-8AE0-2CB2EC24C53F}" destId="{234768DF-1F57-4BAE-A92B-65373C410ACB}" srcOrd="3" destOrd="0" parTransId="{BE1BD166-4D13-46F1-AD0B-47378C65D53F}" sibTransId="{F62D0522-3549-41D0-BAD6-010C1347105F}"/>
    <dgm:cxn modelId="{5D2D5FCD-CC7F-4F16-A81C-5F708C62FDC8}" srcId="{909C7624-1F69-4CDC-8AE0-2CB2EC24C53F}" destId="{B3A41C17-513B-4F3E-97D6-2AF9BBB7B15B}" srcOrd="2" destOrd="0" parTransId="{869BAB23-BD73-4A2A-82DE-8521AE7617B3}" sibTransId="{515FD4EB-EF2C-4FBE-8EF6-66056B8D0FF6}"/>
    <dgm:cxn modelId="{CFD4A7E8-DD43-4940-99E3-0C8AAEAC75FD}" type="presOf" srcId="{909C7624-1F69-4CDC-8AE0-2CB2EC24C53F}" destId="{C7B815B8-E06E-46E9-89F1-17BEEEEDDEC6}" srcOrd="0" destOrd="0" presId="urn:microsoft.com/office/officeart/2005/8/layout/list1"/>
    <dgm:cxn modelId="{B415A4E9-0785-4103-9B62-575693958589}" srcId="{BFAA64F7-9CFB-435C-A7C9-45280C6204A4}" destId="{0DB64AA7-23CB-444C-AB30-5A53CA474E20}" srcOrd="0" destOrd="0" parTransId="{7919F149-947A-4B41-B82B-BCEDEC90AA12}" sibTransId="{20DA3448-8336-45B2-B608-814E642D088F}"/>
    <dgm:cxn modelId="{4129B8FA-DDDA-4EEB-AAF4-B771351D499F}" type="presOf" srcId="{BFAA64F7-9CFB-435C-A7C9-45280C6204A4}" destId="{96B7FA2E-E76C-4C2A-9AEF-75C586248792}" srcOrd="1" destOrd="0" presId="urn:microsoft.com/office/officeart/2005/8/layout/list1"/>
    <dgm:cxn modelId="{BB8709D9-4FE9-4959-93AE-41AE360E651E}" type="presParOf" srcId="{C7B815B8-E06E-46E9-89F1-17BEEEEDDEC6}" destId="{351170EF-8128-4D03-9CC2-4FEFD0251BB2}" srcOrd="0" destOrd="0" presId="urn:microsoft.com/office/officeart/2005/8/layout/list1"/>
    <dgm:cxn modelId="{DE2F233A-BBE8-4D49-B4BE-DB116F4F718D}" type="presParOf" srcId="{351170EF-8128-4D03-9CC2-4FEFD0251BB2}" destId="{7B09038B-3C92-4972-B7CD-F241875EEFFF}" srcOrd="0" destOrd="0" presId="urn:microsoft.com/office/officeart/2005/8/layout/list1"/>
    <dgm:cxn modelId="{236BD43D-D9BD-4A66-89A3-7D749ED0208E}" type="presParOf" srcId="{351170EF-8128-4D03-9CC2-4FEFD0251BB2}" destId="{181A1799-AA6A-4E1E-A08B-70CCE6F0AFED}" srcOrd="1" destOrd="0" presId="urn:microsoft.com/office/officeart/2005/8/layout/list1"/>
    <dgm:cxn modelId="{3AC83050-8E36-43F3-A19F-BB1377FB1860}" type="presParOf" srcId="{C7B815B8-E06E-46E9-89F1-17BEEEEDDEC6}" destId="{E3E0F7B1-0959-4333-980E-E19BA34D57B2}" srcOrd="1" destOrd="0" presId="urn:microsoft.com/office/officeart/2005/8/layout/list1"/>
    <dgm:cxn modelId="{4BEC1C49-CF47-44A9-8193-0A6C8BCC1522}" type="presParOf" srcId="{C7B815B8-E06E-46E9-89F1-17BEEEEDDEC6}" destId="{C0E3BF1D-5F44-4AB0-BAAA-806A265C9232}" srcOrd="2" destOrd="0" presId="urn:microsoft.com/office/officeart/2005/8/layout/list1"/>
    <dgm:cxn modelId="{6AAA29CF-6BF2-4439-9962-0C3AED7A76E3}" type="presParOf" srcId="{C7B815B8-E06E-46E9-89F1-17BEEEEDDEC6}" destId="{B600BFDE-79F3-40DE-A380-370053215B89}" srcOrd="3" destOrd="0" presId="urn:microsoft.com/office/officeart/2005/8/layout/list1"/>
    <dgm:cxn modelId="{B107FE55-592D-477F-8967-344C22EC09C4}" type="presParOf" srcId="{C7B815B8-E06E-46E9-89F1-17BEEEEDDEC6}" destId="{95898165-E92E-42E8-A35D-465EAA10CDC5}" srcOrd="4" destOrd="0" presId="urn:microsoft.com/office/officeart/2005/8/layout/list1"/>
    <dgm:cxn modelId="{1019039A-E666-4FA7-85FE-C9F17E58649E}" type="presParOf" srcId="{95898165-E92E-42E8-A35D-465EAA10CDC5}" destId="{51EC9139-B005-4C9E-8465-8972057FB8F1}" srcOrd="0" destOrd="0" presId="urn:microsoft.com/office/officeart/2005/8/layout/list1"/>
    <dgm:cxn modelId="{DDD47E75-7A0E-4D52-B1B6-0CB5CB4C26D9}" type="presParOf" srcId="{95898165-E92E-42E8-A35D-465EAA10CDC5}" destId="{96B7FA2E-E76C-4C2A-9AEF-75C586248792}" srcOrd="1" destOrd="0" presId="urn:microsoft.com/office/officeart/2005/8/layout/list1"/>
    <dgm:cxn modelId="{82FE6B7D-31E7-405C-A3C0-8738BB4559F4}" type="presParOf" srcId="{C7B815B8-E06E-46E9-89F1-17BEEEEDDEC6}" destId="{7B0698A8-7BBA-4D3B-801D-10ECC4D9256C}" srcOrd="5" destOrd="0" presId="urn:microsoft.com/office/officeart/2005/8/layout/list1"/>
    <dgm:cxn modelId="{FC515ED3-AAE8-4989-9896-107EFECF46CB}" type="presParOf" srcId="{C7B815B8-E06E-46E9-89F1-17BEEEEDDEC6}" destId="{FE1AF76A-D9DA-4723-96F5-F45513396C1B}" srcOrd="6" destOrd="0" presId="urn:microsoft.com/office/officeart/2005/8/layout/list1"/>
    <dgm:cxn modelId="{7E3DEF20-04B3-482A-88CE-D03D540FC564}" type="presParOf" srcId="{C7B815B8-E06E-46E9-89F1-17BEEEEDDEC6}" destId="{BE5610A1-14FD-4ECB-9655-FDC3E0D44E7D}" srcOrd="7" destOrd="0" presId="urn:microsoft.com/office/officeart/2005/8/layout/list1"/>
    <dgm:cxn modelId="{A1046AC2-B4BE-4160-889F-6803BCAA78A2}" type="presParOf" srcId="{C7B815B8-E06E-46E9-89F1-17BEEEEDDEC6}" destId="{ACCFDD86-012F-495F-9B6F-EA493B9D8E8B}" srcOrd="8" destOrd="0" presId="urn:microsoft.com/office/officeart/2005/8/layout/list1"/>
    <dgm:cxn modelId="{A3B39D85-4574-49A0-8862-9BA1D7E6B7FF}" type="presParOf" srcId="{ACCFDD86-012F-495F-9B6F-EA493B9D8E8B}" destId="{94643564-5805-494F-980E-0BAB5BEB5257}" srcOrd="0" destOrd="0" presId="urn:microsoft.com/office/officeart/2005/8/layout/list1"/>
    <dgm:cxn modelId="{653449C6-CBB3-4091-921E-A684883C8788}" type="presParOf" srcId="{ACCFDD86-012F-495F-9B6F-EA493B9D8E8B}" destId="{1B74828F-6B50-47A4-8E2C-2567A239794C}" srcOrd="1" destOrd="0" presId="urn:microsoft.com/office/officeart/2005/8/layout/list1"/>
    <dgm:cxn modelId="{ED8C2F23-A692-4391-B264-B4580E92E0B6}" type="presParOf" srcId="{C7B815B8-E06E-46E9-89F1-17BEEEEDDEC6}" destId="{2E4331E7-23CD-48C3-84C7-3ECE90428ACE}" srcOrd="9" destOrd="0" presId="urn:microsoft.com/office/officeart/2005/8/layout/list1"/>
    <dgm:cxn modelId="{BDB263A2-5DF3-40DA-BE03-968F10D3AA5C}" type="presParOf" srcId="{C7B815B8-E06E-46E9-89F1-17BEEEEDDEC6}" destId="{DD52F6B0-320E-46A1-AED3-A9C0FE5FEFFD}" srcOrd="10" destOrd="0" presId="urn:microsoft.com/office/officeart/2005/8/layout/list1"/>
    <dgm:cxn modelId="{F6F5150F-1B8B-4277-8563-A3928C54C604}" type="presParOf" srcId="{C7B815B8-E06E-46E9-89F1-17BEEEEDDEC6}" destId="{84516FA9-EE0A-4E9C-ACFB-AFCF1A744779}" srcOrd="11" destOrd="0" presId="urn:microsoft.com/office/officeart/2005/8/layout/list1"/>
    <dgm:cxn modelId="{5AFB098B-B280-4AEA-B3F7-739B0CFC6364}" type="presParOf" srcId="{C7B815B8-E06E-46E9-89F1-17BEEEEDDEC6}" destId="{52787424-995A-4FA3-827F-0B8D0A348A7C}" srcOrd="12" destOrd="0" presId="urn:microsoft.com/office/officeart/2005/8/layout/list1"/>
    <dgm:cxn modelId="{1DD9DDB8-FF10-4E7D-B5FE-3AFC45695998}" type="presParOf" srcId="{52787424-995A-4FA3-827F-0B8D0A348A7C}" destId="{9926F46D-34D6-44CB-B52B-90A6D342E21C}" srcOrd="0" destOrd="0" presId="urn:microsoft.com/office/officeart/2005/8/layout/list1"/>
    <dgm:cxn modelId="{BEBC3A2D-14F7-44D5-BF9E-D12DE0F3B0B6}" type="presParOf" srcId="{52787424-995A-4FA3-827F-0B8D0A348A7C}" destId="{C370A106-9427-4BF8-BF88-CA6268C2280F}" srcOrd="1" destOrd="0" presId="urn:microsoft.com/office/officeart/2005/8/layout/list1"/>
    <dgm:cxn modelId="{3C8AE55D-3804-47B8-9FB8-E4F398F20643}" type="presParOf" srcId="{C7B815B8-E06E-46E9-89F1-17BEEEEDDEC6}" destId="{A8ADC1B4-A100-4F58-A1CD-801F431838CF}" srcOrd="13" destOrd="0" presId="urn:microsoft.com/office/officeart/2005/8/layout/list1"/>
    <dgm:cxn modelId="{3ABCC1E3-36D9-4FF6-845A-FBC7863D89AC}" type="presParOf" srcId="{C7B815B8-E06E-46E9-89F1-17BEEEEDDEC6}" destId="{E23B258F-ED18-4BF7-93CE-83BBAE4FA3BA}" srcOrd="14"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09C7624-1F69-4CDC-8AE0-2CB2EC24C53F}" type="doc">
      <dgm:prSet loTypeId="urn:microsoft.com/office/officeart/2005/8/layout/list1" loCatId="list" qsTypeId="urn:microsoft.com/office/officeart/2005/8/quickstyle/simple1" qsCatId="simple" csTypeId="urn:microsoft.com/office/officeart/2005/8/colors/accent1_4" csCatId="accent1" phldr="1"/>
      <dgm:spPr/>
      <dgm:t>
        <a:bodyPr/>
        <a:lstStyle/>
        <a:p>
          <a:endParaRPr lang="en-US"/>
        </a:p>
      </dgm:t>
    </dgm:pt>
    <dgm:pt modelId="{6D436CA2-A1F0-4BA4-8849-32EFCBCF8A0D}">
      <dgm:prSet custT="1"/>
      <dgm:spPr/>
      <dgm:t>
        <a:bodyPr/>
        <a:lstStyle/>
        <a:p>
          <a:pPr rtl="0"/>
          <a:r>
            <a:rPr lang="en-US" sz="2000"/>
            <a:t>Read Test Aloud to Self</a:t>
          </a:r>
          <a:r>
            <a:rPr lang="en-US" sz="2000">
              <a:latin typeface="Calibri Light" panose="020F0302020204030204"/>
            </a:rPr>
            <a:t> </a:t>
          </a:r>
          <a:endParaRPr lang="en-US" sz="2000"/>
        </a:p>
      </dgm:t>
    </dgm:pt>
    <dgm:pt modelId="{A4D128BD-2358-46CA-80FB-DD7D09018C18}" type="parTrans" cxnId="{EE9E0F5A-956A-42C1-8581-9F113FB35DDA}">
      <dgm:prSet/>
      <dgm:spPr/>
      <dgm:t>
        <a:bodyPr/>
        <a:lstStyle/>
        <a:p>
          <a:endParaRPr lang="en-US"/>
        </a:p>
      </dgm:t>
    </dgm:pt>
    <dgm:pt modelId="{CAC54F31-06AA-4CAC-A786-00B8041284CB}" type="sibTrans" cxnId="{EE9E0F5A-956A-42C1-8581-9F113FB35DDA}">
      <dgm:prSet/>
      <dgm:spPr/>
      <dgm:t>
        <a:bodyPr/>
        <a:lstStyle/>
        <a:p>
          <a:endParaRPr lang="en-US"/>
        </a:p>
      </dgm:t>
    </dgm:pt>
    <dgm:pt modelId="{BC4909EF-32C2-41CF-B315-F58DC22FB2BD}">
      <dgm:prSet custT="1"/>
      <dgm:spPr/>
      <dgm:t>
        <a:bodyPr/>
        <a:lstStyle/>
        <a:p>
          <a:pPr rtl="0"/>
          <a:r>
            <a:rPr lang="en-US" sz="2000"/>
            <a:t>Reading Assistance</a:t>
          </a:r>
          <a:r>
            <a:rPr lang="en-US" sz="2000">
              <a:latin typeface="Calibri Light" panose="020F0302020204030204"/>
            </a:rPr>
            <a:t> </a:t>
          </a:r>
          <a:endParaRPr lang="en-US" sz="2000"/>
        </a:p>
      </dgm:t>
    </dgm:pt>
    <dgm:pt modelId="{8FB6635A-4F26-41D7-875E-E13B8B5EEE90}" type="parTrans" cxnId="{F72D23C1-FC66-4A0C-ABA9-7A321522044A}">
      <dgm:prSet/>
      <dgm:spPr/>
      <dgm:t>
        <a:bodyPr/>
        <a:lstStyle/>
        <a:p>
          <a:endParaRPr lang="en-US"/>
        </a:p>
      </dgm:t>
    </dgm:pt>
    <dgm:pt modelId="{427C3541-F971-4C5D-AB53-CE108DFCC5A2}" type="sibTrans" cxnId="{F72D23C1-FC66-4A0C-ABA9-7A321522044A}">
      <dgm:prSet/>
      <dgm:spPr/>
      <dgm:t>
        <a:bodyPr/>
        <a:lstStyle/>
        <a:p>
          <a:endParaRPr lang="en-US"/>
        </a:p>
      </dgm:t>
    </dgm:pt>
    <dgm:pt modelId="{3292C749-1D5F-4BB9-941A-A9012A928F39}">
      <dgm:prSet custT="1"/>
      <dgm:spPr/>
      <dgm:t>
        <a:bodyPr/>
        <a:lstStyle/>
        <a:p>
          <a:pPr rtl="0"/>
          <a:r>
            <a:rPr lang="en-US" sz="2000"/>
            <a:t>Scratch Paper/Notes Tool/Sticky Notes</a:t>
          </a:r>
          <a:r>
            <a:rPr lang="en-US" sz="2000">
              <a:latin typeface="Calibri Light" panose="020F0302020204030204"/>
            </a:rPr>
            <a:t> </a:t>
          </a:r>
          <a:endParaRPr lang="en-US" sz="2000"/>
        </a:p>
      </dgm:t>
    </dgm:pt>
    <dgm:pt modelId="{EBA01306-8419-4DF2-8F73-11355C9C90AC}" type="parTrans" cxnId="{435463F4-4633-4A0D-ACDF-606164DCB434}">
      <dgm:prSet/>
      <dgm:spPr/>
      <dgm:t>
        <a:bodyPr/>
        <a:lstStyle/>
        <a:p>
          <a:endParaRPr lang="en-US"/>
        </a:p>
      </dgm:t>
    </dgm:pt>
    <dgm:pt modelId="{FBF9424D-04CA-44BD-81B6-B08B2E76303C}" type="sibTrans" cxnId="{435463F4-4633-4A0D-ACDF-606164DCB434}">
      <dgm:prSet/>
      <dgm:spPr/>
      <dgm:t>
        <a:bodyPr/>
        <a:lstStyle/>
        <a:p>
          <a:endParaRPr lang="en-US"/>
        </a:p>
      </dgm:t>
    </dgm:pt>
    <dgm:pt modelId="{549694DA-D4A1-45B6-A653-13E7D6BF148B}">
      <dgm:prSet custT="1"/>
      <dgm:spPr/>
      <dgm:t>
        <a:bodyPr/>
        <a:lstStyle/>
        <a:p>
          <a:pPr>
            <a:buClr>
              <a:srgbClr val="F16038"/>
            </a:buClr>
            <a:buFont typeface="Wingdings" panose="05000000000000000000" pitchFamily="2" charset="2"/>
            <a:buChar char="§"/>
          </a:pPr>
          <a:r>
            <a:rPr lang="en-US" sz="2000">
              <a:solidFill>
                <a:srgbClr val="0D6CB9"/>
              </a:solidFill>
            </a:rPr>
            <a:t>e.g., PVC pipe, recording device</a:t>
          </a:r>
        </a:p>
      </dgm:t>
    </dgm:pt>
    <dgm:pt modelId="{68049F9E-4E95-4068-838E-64EB0466416D}" type="parTrans" cxnId="{464EBAF1-10BF-4639-9707-29479F637EAF}">
      <dgm:prSet/>
      <dgm:spPr/>
      <dgm:t>
        <a:bodyPr/>
        <a:lstStyle/>
        <a:p>
          <a:endParaRPr lang="en-US"/>
        </a:p>
      </dgm:t>
    </dgm:pt>
    <dgm:pt modelId="{1E959CF3-65EC-4EDB-8926-ADCA0E92659F}" type="sibTrans" cxnId="{464EBAF1-10BF-4639-9707-29479F637EAF}">
      <dgm:prSet/>
      <dgm:spPr/>
      <dgm:t>
        <a:bodyPr/>
        <a:lstStyle/>
        <a:p>
          <a:endParaRPr lang="en-US"/>
        </a:p>
      </dgm:t>
    </dgm:pt>
    <dgm:pt modelId="{BC99B662-E5B2-4362-8A5F-61178D238875}">
      <dgm:prSet custT="1"/>
      <dgm:spPr/>
      <dgm:t>
        <a:bodyPr/>
        <a:lstStyle/>
        <a:p>
          <a:pPr>
            <a:buClr>
              <a:srgbClr val="F16038"/>
            </a:buClr>
            <a:buFont typeface="Wingdings" panose="05000000000000000000" pitchFamily="2" charset="2"/>
            <a:buChar char="§"/>
          </a:pPr>
          <a:r>
            <a:rPr lang="en-US" sz="2000" dirty="0">
              <a:solidFill>
                <a:srgbClr val="0D6CB9"/>
              </a:solidFill>
            </a:rPr>
            <a:t>Grade 3 math via TTS</a:t>
          </a:r>
        </a:p>
      </dgm:t>
    </dgm:pt>
    <dgm:pt modelId="{101BF0E1-B17B-4A75-905B-625C62162162}" type="parTrans" cxnId="{1B8A21FA-7D48-490E-A514-15F184E5A54F}">
      <dgm:prSet/>
      <dgm:spPr/>
      <dgm:t>
        <a:bodyPr/>
        <a:lstStyle/>
        <a:p>
          <a:endParaRPr lang="en-US"/>
        </a:p>
      </dgm:t>
    </dgm:pt>
    <dgm:pt modelId="{D3685634-FE4D-4566-A195-EB4A30148073}" type="sibTrans" cxnId="{1B8A21FA-7D48-490E-A514-15F184E5A54F}">
      <dgm:prSet/>
      <dgm:spPr/>
      <dgm:t>
        <a:bodyPr/>
        <a:lstStyle/>
        <a:p>
          <a:endParaRPr lang="en-US"/>
        </a:p>
      </dgm:t>
    </dgm:pt>
    <dgm:pt modelId="{EAB4F00C-3A56-4323-8AA6-F3534C2A7CD6}">
      <dgm:prSet custT="1"/>
      <dgm:spPr/>
      <dgm:t>
        <a:bodyPr/>
        <a:lstStyle/>
        <a:p>
          <a:pPr>
            <a:buClr>
              <a:srgbClr val="F16038"/>
            </a:buClr>
            <a:buFont typeface="Wingdings" panose="05000000000000000000" pitchFamily="2" charset="2"/>
            <a:buChar char="§"/>
          </a:pPr>
          <a:r>
            <a:rPr lang="en-US" sz="2000" dirty="0">
              <a:solidFill>
                <a:srgbClr val="0D6CB9"/>
              </a:solidFill>
            </a:rPr>
            <a:t>various types of scratch paper, dry erase boards, or any other medium that can be erased, deleted, or destroyed</a:t>
          </a:r>
        </a:p>
      </dgm:t>
    </dgm:pt>
    <dgm:pt modelId="{9A9A6A33-C255-44D9-B486-50E12C2F66FB}" type="parTrans" cxnId="{BB8FCF17-C0FF-4D29-9818-D10AA9689360}">
      <dgm:prSet/>
      <dgm:spPr/>
      <dgm:t>
        <a:bodyPr/>
        <a:lstStyle/>
        <a:p>
          <a:endParaRPr lang="en-US"/>
        </a:p>
      </dgm:t>
    </dgm:pt>
    <dgm:pt modelId="{CE10104A-2A3E-42F0-8A7C-8FBE64DD6213}" type="sibTrans" cxnId="{BB8FCF17-C0FF-4D29-9818-D10AA9689360}">
      <dgm:prSet/>
      <dgm:spPr/>
      <dgm:t>
        <a:bodyPr/>
        <a:lstStyle/>
        <a:p>
          <a:endParaRPr lang="en-US"/>
        </a:p>
      </dgm:t>
    </dgm:pt>
    <dgm:pt modelId="{C7B815B8-E06E-46E9-89F1-17BEEEEDDEC6}" type="pres">
      <dgm:prSet presAssocID="{909C7624-1F69-4CDC-8AE0-2CB2EC24C53F}" presName="linear" presStyleCnt="0">
        <dgm:presLayoutVars>
          <dgm:dir/>
          <dgm:animLvl val="lvl"/>
          <dgm:resizeHandles val="exact"/>
        </dgm:presLayoutVars>
      </dgm:prSet>
      <dgm:spPr/>
    </dgm:pt>
    <dgm:pt modelId="{1E253353-173C-4E25-BF8E-910FF4AC9AC2}" type="pres">
      <dgm:prSet presAssocID="{6D436CA2-A1F0-4BA4-8849-32EFCBCF8A0D}" presName="parentLin" presStyleCnt="0"/>
      <dgm:spPr/>
    </dgm:pt>
    <dgm:pt modelId="{646379A0-044E-43B1-AC77-C3F3927FC38F}" type="pres">
      <dgm:prSet presAssocID="{6D436CA2-A1F0-4BA4-8849-32EFCBCF8A0D}" presName="parentLeftMargin" presStyleLbl="node1" presStyleIdx="0" presStyleCnt="3"/>
      <dgm:spPr/>
    </dgm:pt>
    <dgm:pt modelId="{590FDF5B-9F47-411A-ADE1-7E99181BE754}" type="pres">
      <dgm:prSet presAssocID="{6D436CA2-A1F0-4BA4-8849-32EFCBCF8A0D}" presName="parentText" presStyleLbl="node1" presStyleIdx="0" presStyleCnt="3">
        <dgm:presLayoutVars>
          <dgm:chMax val="0"/>
          <dgm:bulletEnabled val="1"/>
        </dgm:presLayoutVars>
      </dgm:prSet>
      <dgm:spPr/>
    </dgm:pt>
    <dgm:pt modelId="{2841F466-808B-425C-808E-E8D41C564911}" type="pres">
      <dgm:prSet presAssocID="{6D436CA2-A1F0-4BA4-8849-32EFCBCF8A0D}" presName="negativeSpace" presStyleCnt="0"/>
      <dgm:spPr/>
    </dgm:pt>
    <dgm:pt modelId="{3851AC78-27B6-4194-95D9-BA13221A34BC}" type="pres">
      <dgm:prSet presAssocID="{6D436CA2-A1F0-4BA4-8849-32EFCBCF8A0D}" presName="childText" presStyleLbl="conFgAcc1" presStyleIdx="0" presStyleCnt="3">
        <dgm:presLayoutVars>
          <dgm:bulletEnabled val="1"/>
        </dgm:presLayoutVars>
      </dgm:prSet>
      <dgm:spPr/>
    </dgm:pt>
    <dgm:pt modelId="{AAB29E0B-8886-40D0-8DD2-56B4088BE68F}" type="pres">
      <dgm:prSet presAssocID="{CAC54F31-06AA-4CAC-A786-00B8041284CB}" presName="spaceBetweenRectangles" presStyleCnt="0"/>
      <dgm:spPr/>
    </dgm:pt>
    <dgm:pt modelId="{7D9B039F-35D2-4E2E-A413-2069967B2942}" type="pres">
      <dgm:prSet presAssocID="{BC4909EF-32C2-41CF-B315-F58DC22FB2BD}" presName="parentLin" presStyleCnt="0"/>
      <dgm:spPr/>
    </dgm:pt>
    <dgm:pt modelId="{BF1FC87C-8385-4DAC-AD0B-497C67E1C39F}" type="pres">
      <dgm:prSet presAssocID="{BC4909EF-32C2-41CF-B315-F58DC22FB2BD}" presName="parentLeftMargin" presStyleLbl="node1" presStyleIdx="0" presStyleCnt="3"/>
      <dgm:spPr/>
    </dgm:pt>
    <dgm:pt modelId="{46F1AC03-D4BD-4F37-8620-34A37C40944F}" type="pres">
      <dgm:prSet presAssocID="{BC4909EF-32C2-41CF-B315-F58DC22FB2BD}" presName="parentText" presStyleLbl="node1" presStyleIdx="1" presStyleCnt="3">
        <dgm:presLayoutVars>
          <dgm:chMax val="0"/>
          <dgm:bulletEnabled val="1"/>
        </dgm:presLayoutVars>
      </dgm:prSet>
      <dgm:spPr/>
    </dgm:pt>
    <dgm:pt modelId="{ACEF5699-7510-46FB-B77A-4BDAF1AFF845}" type="pres">
      <dgm:prSet presAssocID="{BC4909EF-32C2-41CF-B315-F58DC22FB2BD}" presName="negativeSpace" presStyleCnt="0"/>
      <dgm:spPr/>
    </dgm:pt>
    <dgm:pt modelId="{C28487E2-FA69-4476-8DE2-BCC708589C05}" type="pres">
      <dgm:prSet presAssocID="{BC4909EF-32C2-41CF-B315-F58DC22FB2BD}" presName="childText" presStyleLbl="conFgAcc1" presStyleIdx="1" presStyleCnt="3">
        <dgm:presLayoutVars>
          <dgm:bulletEnabled val="1"/>
        </dgm:presLayoutVars>
      </dgm:prSet>
      <dgm:spPr/>
    </dgm:pt>
    <dgm:pt modelId="{1838DBFC-AA73-499A-9A36-9E1DC7CF1A4F}" type="pres">
      <dgm:prSet presAssocID="{427C3541-F971-4C5D-AB53-CE108DFCC5A2}" presName="spaceBetweenRectangles" presStyleCnt="0"/>
      <dgm:spPr/>
    </dgm:pt>
    <dgm:pt modelId="{D21FD1B3-A8E3-4D8F-AB35-8E52333A1F8C}" type="pres">
      <dgm:prSet presAssocID="{3292C749-1D5F-4BB9-941A-A9012A928F39}" presName="parentLin" presStyleCnt="0"/>
      <dgm:spPr/>
    </dgm:pt>
    <dgm:pt modelId="{B77CB0D3-3803-4FE4-BAA2-38BCF7403B38}" type="pres">
      <dgm:prSet presAssocID="{3292C749-1D5F-4BB9-941A-A9012A928F39}" presName="parentLeftMargin" presStyleLbl="node1" presStyleIdx="1" presStyleCnt="3"/>
      <dgm:spPr/>
    </dgm:pt>
    <dgm:pt modelId="{6514B3D2-6FA8-4A0B-A66B-D9BF98988759}" type="pres">
      <dgm:prSet presAssocID="{3292C749-1D5F-4BB9-941A-A9012A928F39}" presName="parentText" presStyleLbl="node1" presStyleIdx="2" presStyleCnt="3">
        <dgm:presLayoutVars>
          <dgm:chMax val="0"/>
          <dgm:bulletEnabled val="1"/>
        </dgm:presLayoutVars>
      </dgm:prSet>
      <dgm:spPr/>
    </dgm:pt>
    <dgm:pt modelId="{C1DECB08-2B1A-474A-A1C7-C86C16ECD381}" type="pres">
      <dgm:prSet presAssocID="{3292C749-1D5F-4BB9-941A-A9012A928F39}" presName="negativeSpace" presStyleCnt="0"/>
      <dgm:spPr/>
    </dgm:pt>
    <dgm:pt modelId="{9CB8D7B1-03F4-46F8-9A86-6ECF72E59984}" type="pres">
      <dgm:prSet presAssocID="{3292C749-1D5F-4BB9-941A-A9012A928F39}" presName="childText" presStyleLbl="conFgAcc1" presStyleIdx="2" presStyleCnt="3">
        <dgm:presLayoutVars>
          <dgm:bulletEnabled val="1"/>
        </dgm:presLayoutVars>
      </dgm:prSet>
      <dgm:spPr/>
    </dgm:pt>
  </dgm:ptLst>
  <dgm:cxnLst>
    <dgm:cxn modelId="{BB8FCF17-C0FF-4D29-9818-D10AA9689360}" srcId="{3292C749-1D5F-4BB9-941A-A9012A928F39}" destId="{EAB4F00C-3A56-4323-8AA6-F3534C2A7CD6}" srcOrd="0" destOrd="0" parTransId="{9A9A6A33-C255-44D9-B486-50E12C2F66FB}" sibTransId="{CE10104A-2A3E-42F0-8A7C-8FBE64DD6213}"/>
    <dgm:cxn modelId="{9EE8AC2D-77B9-47AF-9E98-DC22F94F04FC}" type="presOf" srcId="{6D436CA2-A1F0-4BA4-8849-32EFCBCF8A0D}" destId="{646379A0-044E-43B1-AC77-C3F3927FC38F}" srcOrd="0" destOrd="0" presId="urn:microsoft.com/office/officeart/2005/8/layout/list1"/>
    <dgm:cxn modelId="{EFBF1F3D-DAF3-449C-9B84-0DFA18D43013}" type="presOf" srcId="{549694DA-D4A1-45B6-A653-13E7D6BF148B}" destId="{3851AC78-27B6-4194-95D9-BA13221A34BC}" srcOrd="0" destOrd="0" presId="urn:microsoft.com/office/officeart/2005/8/layout/list1"/>
    <dgm:cxn modelId="{EE9E0F5A-956A-42C1-8581-9F113FB35DDA}" srcId="{909C7624-1F69-4CDC-8AE0-2CB2EC24C53F}" destId="{6D436CA2-A1F0-4BA4-8849-32EFCBCF8A0D}" srcOrd="0" destOrd="0" parTransId="{A4D128BD-2358-46CA-80FB-DD7D09018C18}" sibTransId="{CAC54F31-06AA-4CAC-A786-00B8041284CB}"/>
    <dgm:cxn modelId="{3A9C2F5A-439F-4DBA-8A04-655D1B0DFAE4}" type="presOf" srcId="{BC4909EF-32C2-41CF-B315-F58DC22FB2BD}" destId="{BF1FC87C-8385-4DAC-AD0B-497C67E1C39F}" srcOrd="0" destOrd="0" presId="urn:microsoft.com/office/officeart/2005/8/layout/list1"/>
    <dgm:cxn modelId="{6D5ADB7C-FD65-4802-A095-81E6832391E6}" type="presOf" srcId="{6D436CA2-A1F0-4BA4-8849-32EFCBCF8A0D}" destId="{590FDF5B-9F47-411A-ADE1-7E99181BE754}" srcOrd="1" destOrd="0" presId="urn:microsoft.com/office/officeart/2005/8/layout/list1"/>
    <dgm:cxn modelId="{E6771A88-B347-45AD-A5D4-91D7AC019CB4}" type="presOf" srcId="{3292C749-1D5F-4BB9-941A-A9012A928F39}" destId="{6514B3D2-6FA8-4A0B-A66B-D9BF98988759}" srcOrd="1" destOrd="0" presId="urn:microsoft.com/office/officeart/2005/8/layout/list1"/>
    <dgm:cxn modelId="{24400893-57A8-4DB3-8721-7A2A4FCEC042}" type="presOf" srcId="{BC4909EF-32C2-41CF-B315-F58DC22FB2BD}" destId="{46F1AC03-D4BD-4F37-8620-34A37C40944F}" srcOrd="1" destOrd="0" presId="urn:microsoft.com/office/officeart/2005/8/layout/list1"/>
    <dgm:cxn modelId="{92F7C495-720C-4028-B796-7A8C278B605E}" type="presOf" srcId="{BC99B662-E5B2-4362-8A5F-61178D238875}" destId="{C28487E2-FA69-4476-8DE2-BCC708589C05}" srcOrd="0" destOrd="0" presId="urn:microsoft.com/office/officeart/2005/8/layout/list1"/>
    <dgm:cxn modelId="{FF05FBC0-43FD-4F2D-B683-8CED92F9296B}" type="presOf" srcId="{3292C749-1D5F-4BB9-941A-A9012A928F39}" destId="{B77CB0D3-3803-4FE4-BAA2-38BCF7403B38}" srcOrd="0" destOrd="0" presId="urn:microsoft.com/office/officeart/2005/8/layout/list1"/>
    <dgm:cxn modelId="{F72D23C1-FC66-4A0C-ABA9-7A321522044A}" srcId="{909C7624-1F69-4CDC-8AE0-2CB2EC24C53F}" destId="{BC4909EF-32C2-41CF-B315-F58DC22FB2BD}" srcOrd="1" destOrd="0" parTransId="{8FB6635A-4F26-41D7-875E-E13B8B5EEE90}" sibTransId="{427C3541-F971-4C5D-AB53-CE108DFCC5A2}"/>
    <dgm:cxn modelId="{19C0A6E0-9DFD-4C17-A309-C8539713F16D}" type="presOf" srcId="{EAB4F00C-3A56-4323-8AA6-F3534C2A7CD6}" destId="{9CB8D7B1-03F4-46F8-9A86-6ECF72E59984}" srcOrd="0" destOrd="0" presId="urn:microsoft.com/office/officeart/2005/8/layout/list1"/>
    <dgm:cxn modelId="{CFD4A7E8-DD43-4940-99E3-0C8AAEAC75FD}" type="presOf" srcId="{909C7624-1F69-4CDC-8AE0-2CB2EC24C53F}" destId="{C7B815B8-E06E-46E9-89F1-17BEEEEDDEC6}" srcOrd="0" destOrd="0" presId="urn:microsoft.com/office/officeart/2005/8/layout/list1"/>
    <dgm:cxn modelId="{464EBAF1-10BF-4639-9707-29479F637EAF}" srcId="{6D436CA2-A1F0-4BA4-8849-32EFCBCF8A0D}" destId="{549694DA-D4A1-45B6-A653-13E7D6BF148B}" srcOrd="0" destOrd="0" parTransId="{68049F9E-4E95-4068-838E-64EB0466416D}" sibTransId="{1E959CF3-65EC-4EDB-8926-ADCA0E92659F}"/>
    <dgm:cxn modelId="{435463F4-4633-4A0D-ACDF-606164DCB434}" srcId="{909C7624-1F69-4CDC-8AE0-2CB2EC24C53F}" destId="{3292C749-1D5F-4BB9-941A-A9012A928F39}" srcOrd="2" destOrd="0" parTransId="{EBA01306-8419-4DF2-8F73-11355C9C90AC}" sibTransId="{FBF9424D-04CA-44BD-81B6-B08B2E76303C}"/>
    <dgm:cxn modelId="{1B8A21FA-7D48-490E-A514-15F184E5A54F}" srcId="{BC4909EF-32C2-41CF-B315-F58DC22FB2BD}" destId="{BC99B662-E5B2-4362-8A5F-61178D238875}" srcOrd="0" destOrd="0" parTransId="{101BF0E1-B17B-4A75-905B-625C62162162}" sibTransId="{D3685634-FE4D-4566-A195-EB4A30148073}"/>
    <dgm:cxn modelId="{472DC1DC-BCF1-4BFA-8D39-B9B7BEFA0082}" type="presParOf" srcId="{C7B815B8-E06E-46E9-89F1-17BEEEEDDEC6}" destId="{1E253353-173C-4E25-BF8E-910FF4AC9AC2}" srcOrd="0" destOrd="0" presId="urn:microsoft.com/office/officeart/2005/8/layout/list1"/>
    <dgm:cxn modelId="{651C8F31-AA22-45A4-B004-333BC0173C0D}" type="presParOf" srcId="{1E253353-173C-4E25-BF8E-910FF4AC9AC2}" destId="{646379A0-044E-43B1-AC77-C3F3927FC38F}" srcOrd="0" destOrd="0" presId="urn:microsoft.com/office/officeart/2005/8/layout/list1"/>
    <dgm:cxn modelId="{7A1E413C-1B83-4B81-9134-50D82207A9E6}" type="presParOf" srcId="{1E253353-173C-4E25-BF8E-910FF4AC9AC2}" destId="{590FDF5B-9F47-411A-ADE1-7E99181BE754}" srcOrd="1" destOrd="0" presId="urn:microsoft.com/office/officeart/2005/8/layout/list1"/>
    <dgm:cxn modelId="{F1BC7C21-D935-4CD7-B2A9-46E0E089570E}" type="presParOf" srcId="{C7B815B8-E06E-46E9-89F1-17BEEEEDDEC6}" destId="{2841F466-808B-425C-808E-E8D41C564911}" srcOrd="1" destOrd="0" presId="urn:microsoft.com/office/officeart/2005/8/layout/list1"/>
    <dgm:cxn modelId="{8F5349FE-0F57-4C5E-9693-9E9F90A36650}" type="presParOf" srcId="{C7B815B8-E06E-46E9-89F1-17BEEEEDDEC6}" destId="{3851AC78-27B6-4194-95D9-BA13221A34BC}" srcOrd="2" destOrd="0" presId="urn:microsoft.com/office/officeart/2005/8/layout/list1"/>
    <dgm:cxn modelId="{2E59B788-A2E9-4FC5-A1EA-627BEE0A066A}" type="presParOf" srcId="{C7B815B8-E06E-46E9-89F1-17BEEEEDDEC6}" destId="{AAB29E0B-8886-40D0-8DD2-56B4088BE68F}" srcOrd="3" destOrd="0" presId="urn:microsoft.com/office/officeart/2005/8/layout/list1"/>
    <dgm:cxn modelId="{3CD1FEEC-DBFA-4AD4-B3F7-3A13101730E4}" type="presParOf" srcId="{C7B815B8-E06E-46E9-89F1-17BEEEEDDEC6}" destId="{7D9B039F-35D2-4E2E-A413-2069967B2942}" srcOrd="4" destOrd="0" presId="urn:microsoft.com/office/officeart/2005/8/layout/list1"/>
    <dgm:cxn modelId="{FE21636D-520B-4771-B261-F4CF6543CBD6}" type="presParOf" srcId="{7D9B039F-35D2-4E2E-A413-2069967B2942}" destId="{BF1FC87C-8385-4DAC-AD0B-497C67E1C39F}" srcOrd="0" destOrd="0" presId="urn:microsoft.com/office/officeart/2005/8/layout/list1"/>
    <dgm:cxn modelId="{02E43B72-5C08-4C61-863E-CE730AF1FB91}" type="presParOf" srcId="{7D9B039F-35D2-4E2E-A413-2069967B2942}" destId="{46F1AC03-D4BD-4F37-8620-34A37C40944F}" srcOrd="1" destOrd="0" presId="urn:microsoft.com/office/officeart/2005/8/layout/list1"/>
    <dgm:cxn modelId="{FE83EC45-78AE-43DF-BFA7-2BDAF3C8A667}" type="presParOf" srcId="{C7B815B8-E06E-46E9-89F1-17BEEEEDDEC6}" destId="{ACEF5699-7510-46FB-B77A-4BDAF1AFF845}" srcOrd="5" destOrd="0" presId="urn:microsoft.com/office/officeart/2005/8/layout/list1"/>
    <dgm:cxn modelId="{2C277601-0C0F-4393-B1FD-2C4A38012461}" type="presParOf" srcId="{C7B815B8-E06E-46E9-89F1-17BEEEEDDEC6}" destId="{C28487E2-FA69-4476-8DE2-BCC708589C05}" srcOrd="6" destOrd="0" presId="urn:microsoft.com/office/officeart/2005/8/layout/list1"/>
    <dgm:cxn modelId="{73727AA7-3387-4C7C-B9BA-39DE1CEF8217}" type="presParOf" srcId="{C7B815B8-E06E-46E9-89F1-17BEEEEDDEC6}" destId="{1838DBFC-AA73-499A-9A36-9E1DC7CF1A4F}" srcOrd="7" destOrd="0" presId="urn:microsoft.com/office/officeart/2005/8/layout/list1"/>
    <dgm:cxn modelId="{24E0A02B-C193-4653-9EA7-92C34CB653C3}" type="presParOf" srcId="{C7B815B8-E06E-46E9-89F1-17BEEEEDDEC6}" destId="{D21FD1B3-A8E3-4D8F-AB35-8E52333A1F8C}" srcOrd="8" destOrd="0" presId="urn:microsoft.com/office/officeart/2005/8/layout/list1"/>
    <dgm:cxn modelId="{3F616065-657B-40F4-ADE5-CB47D8214DE0}" type="presParOf" srcId="{D21FD1B3-A8E3-4D8F-AB35-8E52333A1F8C}" destId="{B77CB0D3-3803-4FE4-BAA2-38BCF7403B38}" srcOrd="0" destOrd="0" presId="urn:microsoft.com/office/officeart/2005/8/layout/list1"/>
    <dgm:cxn modelId="{D30E0092-D2AF-4494-B8BC-97ED8C0352BC}" type="presParOf" srcId="{D21FD1B3-A8E3-4D8F-AB35-8E52333A1F8C}" destId="{6514B3D2-6FA8-4A0B-A66B-D9BF98988759}" srcOrd="1" destOrd="0" presId="urn:microsoft.com/office/officeart/2005/8/layout/list1"/>
    <dgm:cxn modelId="{A2CB5CBD-2654-428D-97DF-688FA0BB9335}" type="presParOf" srcId="{C7B815B8-E06E-46E9-89F1-17BEEEEDDEC6}" destId="{C1DECB08-2B1A-474A-A1C7-C86C16ECD381}" srcOrd="9" destOrd="0" presId="urn:microsoft.com/office/officeart/2005/8/layout/list1"/>
    <dgm:cxn modelId="{1E7F49C6-B8E2-43DB-877A-9505A7B8B511}" type="presParOf" srcId="{C7B815B8-E06E-46E9-89F1-17BEEEEDDEC6}" destId="{9CB8D7B1-03F4-46F8-9A86-6ECF72E59984}" srcOrd="10"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09C7624-1F69-4CDC-8AE0-2CB2EC24C53F}" type="doc">
      <dgm:prSet loTypeId="urn:microsoft.com/office/officeart/2005/8/layout/list1" loCatId="list" qsTypeId="urn:microsoft.com/office/officeart/2005/8/quickstyle/simple1" qsCatId="simple" csTypeId="urn:microsoft.com/office/officeart/2005/8/colors/accent1_4" csCatId="accent1" phldr="1"/>
      <dgm:spPr/>
      <dgm:t>
        <a:bodyPr/>
        <a:lstStyle/>
        <a:p>
          <a:endParaRPr lang="en-US"/>
        </a:p>
      </dgm:t>
    </dgm:pt>
    <dgm:pt modelId="{77C0318C-9862-4EDE-9AEF-31E242ED5790}">
      <dgm:prSet phldrT="[Text]" custT="1"/>
      <dgm:spPr/>
      <dgm:t>
        <a:bodyPr/>
        <a:lstStyle/>
        <a:p>
          <a:r>
            <a:rPr lang="en-US" sz="2000"/>
            <a:t>Signing or Providing Oral Interpretation (e.g., lip reading) Test Directions for a Student Who is Deaf or Hard of Hearing</a:t>
          </a:r>
        </a:p>
      </dgm:t>
    </dgm:pt>
    <dgm:pt modelId="{7A882FD7-046D-46B9-9E9D-E23F778DB9AB}" type="parTrans" cxnId="{2C4B2A94-4DD9-4245-A7D6-2025F3D50F5E}">
      <dgm:prSet/>
      <dgm:spPr/>
      <dgm:t>
        <a:bodyPr/>
        <a:lstStyle/>
        <a:p>
          <a:endParaRPr lang="en-US"/>
        </a:p>
      </dgm:t>
    </dgm:pt>
    <dgm:pt modelId="{05522012-E7A7-4107-9C9E-C2196068C014}" type="sibTrans" cxnId="{2C4B2A94-4DD9-4245-A7D6-2025F3D50F5E}">
      <dgm:prSet/>
      <dgm:spPr/>
      <dgm:t>
        <a:bodyPr/>
        <a:lstStyle/>
        <a:p>
          <a:endParaRPr lang="en-US"/>
        </a:p>
      </dgm:t>
    </dgm:pt>
    <dgm:pt modelId="{5B01BBD9-8567-428D-A2FA-F27FA1146383}">
      <dgm:prSet custT="1"/>
      <dgm:spPr/>
      <dgm:t>
        <a:bodyPr/>
        <a:lstStyle/>
        <a:p>
          <a:pPr rtl="0"/>
          <a:r>
            <a:rPr lang="en-US" sz="2000"/>
            <a:t>Small Group</a:t>
          </a:r>
          <a:r>
            <a:rPr lang="en-US" sz="2000">
              <a:latin typeface="Calibri Light" panose="020F0302020204030204"/>
            </a:rPr>
            <a:t> </a:t>
          </a:r>
          <a:endParaRPr lang="en-US" sz="2000"/>
        </a:p>
      </dgm:t>
    </dgm:pt>
    <dgm:pt modelId="{3C403046-810C-4EEA-B671-3E47143E2ED2}" type="parTrans" cxnId="{84F536B2-ECA9-489D-83BE-9CCE7C2700F4}">
      <dgm:prSet/>
      <dgm:spPr/>
      <dgm:t>
        <a:bodyPr/>
        <a:lstStyle/>
        <a:p>
          <a:endParaRPr lang="en-US"/>
        </a:p>
      </dgm:t>
    </dgm:pt>
    <dgm:pt modelId="{105EC2F3-FC4C-4860-86C0-058D1F558928}" type="sibTrans" cxnId="{84F536B2-ECA9-489D-83BE-9CCE7C2700F4}">
      <dgm:prSet/>
      <dgm:spPr/>
      <dgm:t>
        <a:bodyPr/>
        <a:lstStyle/>
        <a:p>
          <a:endParaRPr lang="en-US"/>
        </a:p>
      </dgm:t>
    </dgm:pt>
    <dgm:pt modelId="{48C52A0E-3A47-47AC-80D3-58979610F91E}">
      <dgm:prSet custT="1"/>
      <dgm:spPr>
        <a:solidFill>
          <a:schemeClr val="accent1"/>
        </a:solidFill>
      </dgm:spPr>
      <dgm:t>
        <a:bodyPr/>
        <a:lstStyle/>
        <a:p>
          <a:pPr rtl="0"/>
          <a:r>
            <a:rPr lang="en-US" sz="2000"/>
            <a:t>Translating Test Directions Into the Native Language of an English Learner</a:t>
          </a:r>
          <a:r>
            <a:rPr lang="en-US" sz="2000">
              <a:latin typeface="Calibri Light" panose="020F0302020204030204"/>
            </a:rPr>
            <a:t> </a:t>
          </a:r>
          <a:endParaRPr lang="en-US" sz="2000"/>
        </a:p>
      </dgm:t>
    </dgm:pt>
    <dgm:pt modelId="{5C93403B-8846-4CD8-B302-1DF96B19626F}" type="parTrans" cxnId="{3FD116E1-78D0-4550-86B0-4639ECF9C683}">
      <dgm:prSet/>
      <dgm:spPr/>
      <dgm:t>
        <a:bodyPr/>
        <a:lstStyle/>
        <a:p>
          <a:endParaRPr lang="en-US"/>
        </a:p>
      </dgm:t>
    </dgm:pt>
    <dgm:pt modelId="{2E52C531-4966-438B-A62A-D31072B1147D}" type="sibTrans" cxnId="{3FD116E1-78D0-4550-86B0-4639ECF9C683}">
      <dgm:prSet/>
      <dgm:spPr/>
      <dgm:t>
        <a:bodyPr/>
        <a:lstStyle/>
        <a:p>
          <a:endParaRPr lang="en-US"/>
        </a:p>
      </dgm:t>
    </dgm:pt>
    <dgm:pt modelId="{00F631CE-8F39-48B0-B4B9-8374A03AAB2A}">
      <dgm:prSet custT="1"/>
      <dgm:spPr/>
      <dgm:t>
        <a:bodyPr/>
        <a:lstStyle/>
        <a:p>
          <a:pPr>
            <a:buClr>
              <a:srgbClr val="F16038"/>
            </a:buClr>
            <a:buFont typeface="Wingdings" panose="05000000000000000000" pitchFamily="2" charset="2"/>
            <a:buChar char="§"/>
          </a:pPr>
          <a:r>
            <a:rPr lang="en-US" sz="2000">
              <a:solidFill>
                <a:srgbClr val="0D6CB9"/>
              </a:solidFill>
            </a:rPr>
            <a:t>number of students in small group is determined at local level based on the needs of each student and should mirror, as much as possible, the same small- group size in classroom testing situations </a:t>
          </a:r>
        </a:p>
      </dgm:t>
    </dgm:pt>
    <dgm:pt modelId="{6298F69D-9DCE-4366-ABBE-7322CC7F1CF4}" type="parTrans" cxnId="{6AF6036D-178A-441E-A19B-F0589E9A3F03}">
      <dgm:prSet/>
      <dgm:spPr/>
      <dgm:t>
        <a:bodyPr/>
        <a:lstStyle/>
        <a:p>
          <a:endParaRPr lang="en-US"/>
        </a:p>
      </dgm:t>
    </dgm:pt>
    <dgm:pt modelId="{05E93C1B-0949-4EF7-B6DB-90D6B2AE6C78}" type="sibTrans" cxnId="{6AF6036D-178A-441E-A19B-F0589E9A3F03}">
      <dgm:prSet/>
      <dgm:spPr/>
      <dgm:t>
        <a:bodyPr/>
        <a:lstStyle/>
        <a:p>
          <a:endParaRPr lang="en-US"/>
        </a:p>
      </dgm:t>
    </dgm:pt>
    <dgm:pt modelId="{C7B815B8-E06E-46E9-89F1-17BEEEEDDEC6}" type="pres">
      <dgm:prSet presAssocID="{909C7624-1F69-4CDC-8AE0-2CB2EC24C53F}" presName="linear" presStyleCnt="0">
        <dgm:presLayoutVars>
          <dgm:dir/>
          <dgm:animLvl val="lvl"/>
          <dgm:resizeHandles val="exact"/>
        </dgm:presLayoutVars>
      </dgm:prSet>
      <dgm:spPr/>
    </dgm:pt>
    <dgm:pt modelId="{351170EF-8128-4D03-9CC2-4FEFD0251BB2}" type="pres">
      <dgm:prSet presAssocID="{77C0318C-9862-4EDE-9AEF-31E242ED5790}" presName="parentLin" presStyleCnt="0"/>
      <dgm:spPr/>
    </dgm:pt>
    <dgm:pt modelId="{7B09038B-3C92-4972-B7CD-F241875EEFFF}" type="pres">
      <dgm:prSet presAssocID="{77C0318C-9862-4EDE-9AEF-31E242ED5790}" presName="parentLeftMargin" presStyleLbl="node1" presStyleIdx="0" presStyleCnt="3"/>
      <dgm:spPr/>
    </dgm:pt>
    <dgm:pt modelId="{181A1799-AA6A-4E1E-A08B-70CCE6F0AFED}" type="pres">
      <dgm:prSet presAssocID="{77C0318C-9862-4EDE-9AEF-31E242ED5790}" presName="parentText" presStyleLbl="node1" presStyleIdx="0" presStyleCnt="3">
        <dgm:presLayoutVars>
          <dgm:chMax val="0"/>
          <dgm:bulletEnabled val="1"/>
        </dgm:presLayoutVars>
      </dgm:prSet>
      <dgm:spPr/>
    </dgm:pt>
    <dgm:pt modelId="{E3E0F7B1-0959-4333-980E-E19BA34D57B2}" type="pres">
      <dgm:prSet presAssocID="{77C0318C-9862-4EDE-9AEF-31E242ED5790}" presName="negativeSpace" presStyleCnt="0"/>
      <dgm:spPr/>
    </dgm:pt>
    <dgm:pt modelId="{C0E3BF1D-5F44-4AB0-BAAA-806A265C9232}" type="pres">
      <dgm:prSet presAssocID="{77C0318C-9862-4EDE-9AEF-31E242ED5790}" presName="childText" presStyleLbl="conFgAcc1" presStyleIdx="0" presStyleCnt="3" custLinFactNeighborX="-8107" custLinFactNeighborY="16360">
        <dgm:presLayoutVars>
          <dgm:bulletEnabled val="1"/>
        </dgm:presLayoutVars>
      </dgm:prSet>
      <dgm:spPr/>
    </dgm:pt>
    <dgm:pt modelId="{618C4115-CCDD-4547-8201-553353C859EF}" type="pres">
      <dgm:prSet presAssocID="{05522012-E7A7-4107-9C9E-C2196068C014}" presName="spaceBetweenRectangles" presStyleCnt="0"/>
      <dgm:spPr/>
    </dgm:pt>
    <dgm:pt modelId="{3B67529A-D5D2-4238-984B-4BBCA111B3E7}" type="pres">
      <dgm:prSet presAssocID="{5B01BBD9-8567-428D-A2FA-F27FA1146383}" presName="parentLin" presStyleCnt="0"/>
      <dgm:spPr/>
    </dgm:pt>
    <dgm:pt modelId="{F03EAFF9-B1A0-4FB3-81A8-972F92FF3DBA}" type="pres">
      <dgm:prSet presAssocID="{5B01BBD9-8567-428D-A2FA-F27FA1146383}" presName="parentLeftMargin" presStyleLbl="node1" presStyleIdx="0" presStyleCnt="3"/>
      <dgm:spPr/>
    </dgm:pt>
    <dgm:pt modelId="{1B2B70C5-67BE-44F8-BC2C-E0A507658A84}" type="pres">
      <dgm:prSet presAssocID="{5B01BBD9-8567-428D-A2FA-F27FA1146383}" presName="parentText" presStyleLbl="node1" presStyleIdx="1" presStyleCnt="3">
        <dgm:presLayoutVars>
          <dgm:chMax val="0"/>
          <dgm:bulletEnabled val="1"/>
        </dgm:presLayoutVars>
      </dgm:prSet>
      <dgm:spPr/>
    </dgm:pt>
    <dgm:pt modelId="{51BEC735-BDB7-4650-8C11-71288A4F7557}" type="pres">
      <dgm:prSet presAssocID="{5B01BBD9-8567-428D-A2FA-F27FA1146383}" presName="negativeSpace" presStyleCnt="0"/>
      <dgm:spPr/>
    </dgm:pt>
    <dgm:pt modelId="{94F63178-D5D8-4CE7-955A-82E4E089444A}" type="pres">
      <dgm:prSet presAssocID="{5B01BBD9-8567-428D-A2FA-F27FA1146383}" presName="childText" presStyleLbl="conFgAcc1" presStyleIdx="1" presStyleCnt="3">
        <dgm:presLayoutVars>
          <dgm:bulletEnabled val="1"/>
        </dgm:presLayoutVars>
      </dgm:prSet>
      <dgm:spPr/>
    </dgm:pt>
    <dgm:pt modelId="{C5F1DCC0-C9E8-4A3A-994A-B1455448C973}" type="pres">
      <dgm:prSet presAssocID="{105EC2F3-FC4C-4860-86C0-058D1F558928}" presName="spaceBetweenRectangles" presStyleCnt="0"/>
      <dgm:spPr/>
    </dgm:pt>
    <dgm:pt modelId="{6AFD9B30-AF96-464E-BA9E-85834A1F24C4}" type="pres">
      <dgm:prSet presAssocID="{48C52A0E-3A47-47AC-80D3-58979610F91E}" presName="parentLin" presStyleCnt="0"/>
      <dgm:spPr/>
    </dgm:pt>
    <dgm:pt modelId="{A77E8835-1094-459A-902B-308D9DB9548A}" type="pres">
      <dgm:prSet presAssocID="{48C52A0E-3A47-47AC-80D3-58979610F91E}" presName="parentLeftMargin" presStyleLbl="node1" presStyleIdx="1" presStyleCnt="3"/>
      <dgm:spPr/>
    </dgm:pt>
    <dgm:pt modelId="{17D249AD-9D44-4475-803A-801DE570D117}" type="pres">
      <dgm:prSet presAssocID="{48C52A0E-3A47-47AC-80D3-58979610F91E}" presName="parentText" presStyleLbl="node1" presStyleIdx="2" presStyleCnt="3">
        <dgm:presLayoutVars>
          <dgm:chMax val="0"/>
          <dgm:bulletEnabled val="1"/>
        </dgm:presLayoutVars>
      </dgm:prSet>
      <dgm:spPr/>
    </dgm:pt>
    <dgm:pt modelId="{89983FCD-0B78-49FD-9325-95D0F99B37C2}" type="pres">
      <dgm:prSet presAssocID="{48C52A0E-3A47-47AC-80D3-58979610F91E}" presName="negativeSpace" presStyleCnt="0"/>
      <dgm:spPr/>
    </dgm:pt>
    <dgm:pt modelId="{2E31C7E1-C9BB-4924-8685-FFD8C873BA9D}" type="pres">
      <dgm:prSet presAssocID="{48C52A0E-3A47-47AC-80D3-58979610F91E}" presName="childText" presStyleLbl="conFgAcc1" presStyleIdx="2" presStyleCnt="3">
        <dgm:presLayoutVars>
          <dgm:bulletEnabled val="1"/>
        </dgm:presLayoutVars>
      </dgm:prSet>
      <dgm:spPr/>
    </dgm:pt>
  </dgm:ptLst>
  <dgm:cxnLst>
    <dgm:cxn modelId="{7059463C-0449-4BED-AAED-EBAE6F014009}" type="presOf" srcId="{48C52A0E-3A47-47AC-80D3-58979610F91E}" destId="{A77E8835-1094-459A-902B-308D9DB9548A}" srcOrd="0" destOrd="0" presId="urn:microsoft.com/office/officeart/2005/8/layout/list1"/>
    <dgm:cxn modelId="{39B4FF6C-80AF-4505-B6F4-B8A26F43E59F}" type="presOf" srcId="{77C0318C-9862-4EDE-9AEF-31E242ED5790}" destId="{7B09038B-3C92-4972-B7CD-F241875EEFFF}" srcOrd="0" destOrd="0" presId="urn:microsoft.com/office/officeart/2005/8/layout/list1"/>
    <dgm:cxn modelId="{6AF6036D-178A-441E-A19B-F0589E9A3F03}" srcId="{5B01BBD9-8567-428D-A2FA-F27FA1146383}" destId="{00F631CE-8F39-48B0-B4B9-8374A03AAB2A}" srcOrd="0" destOrd="0" parTransId="{6298F69D-9DCE-4366-ABBE-7322CC7F1CF4}" sibTransId="{05E93C1B-0949-4EF7-B6DB-90D6B2AE6C78}"/>
    <dgm:cxn modelId="{2C4B2A94-4DD9-4245-A7D6-2025F3D50F5E}" srcId="{909C7624-1F69-4CDC-8AE0-2CB2EC24C53F}" destId="{77C0318C-9862-4EDE-9AEF-31E242ED5790}" srcOrd="0" destOrd="0" parTransId="{7A882FD7-046D-46B9-9E9D-E23F778DB9AB}" sibTransId="{05522012-E7A7-4107-9C9E-C2196068C014}"/>
    <dgm:cxn modelId="{CD278197-DF0B-4CE9-A26D-36B94A849352}" type="presOf" srcId="{77C0318C-9862-4EDE-9AEF-31E242ED5790}" destId="{181A1799-AA6A-4E1E-A08B-70CCE6F0AFED}" srcOrd="1" destOrd="0" presId="urn:microsoft.com/office/officeart/2005/8/layout/list1"/>
    <dgm:cxn modelId="{44AD259C-F11B-401C-B7E8-8A6AF3D800EC}" type="presOf" srcId="{5B01BBD9-8567-428D-A2FA-F27FA1146383}" destId="{1B2B70C5-67BE-44F8-BC2C-E0A507658A84}" srcOrd="1" destOrd="0" presId="urn:microsoft.com/office/officeart/2005/8/layout/list1"/>
    <dgm:cxn modelId="{84F536B2-ECA9-489D-83BE-9CCE7C2700F4}" srcId="{909C7624-1F69-4CDC-8AE0-2CB2EC24C53F}" destId="{5B01BBD9-8567-428D-A2FA-F27FA1146383}" srcOrd="1" destOrd="0" parTransId="{3C403046-810C-4EEA-B671-3E47143E2ED2}" sibTransId="{105EC2F3-FC4C-4860-86C0-058D1F558928}"/>
    <dgm:cxn modelId="{0A3BEBB5-42C0-448E-91E9-499C862BBBB6}" type="presOf" srcId="{48C52A0E-3A47-47AC-80D3-58979610F91E}" destId="{17D249AD-9D44-4475-803A-801DE570D117}" srcOrd="1" destOrd="0" presId="urn:microsoft.com/office/officeart/2005/8/layout/list1"/>
    <dgm:cxn modelId="{3FD116E1-78D0-4550-86B0-4639ECF9C683}" srcId="{909C7624-1F69-4CDC-8AE0-2CB2EC24C53F}" destId="{48C52A0E-3A47-47AC-80D3-58979610F91E}" srcOrd="2" destOrd="0" parTransId="{5C93403B-8846-4CD8-B302-1DF96B19626F}" sibTransId="{2E52C531-4966-438B-A62A-D31072B1147D}"/>
    <dgm:cxn modelId="{7241C6E6-59D5-4416-AD29-93B496E40429}" type="presOf" srcId="{00F631CE-8F39-48B0-B4B9-8374A03AAB2A}" destId="{94F63178-D5D8-4CE7-955A-82E4E089444A}" srcOrd="0" destOrd="0" presId="urn:microsoft.com/office/officeart/2005/8/layout/list1"/>
    <dgm:cxn modelId="{CFD4A7E8-DD43-4940-99E3-0C8AAEAC75FD}" type="presOf" srcId="{909C7624-1F69-4CDC-8AE0-2CB2EC24C53F}" destId="{C7B815B8-E06E-46E9-89F1-17BEEEEDDEC6}" srcOrd="0" destOrd="0" presId="urn:microsoft.com/office/officeart/2005/8/layout/list1"/>
    <dgm:cxn modelId="{4BC449F9-3983-490E-B9D7-33EA3ED06A1C}" type="presOf" srcId="{5B01BBD9-8567-428D-A2FA-F27FA1146383}" destId="{F03EAFF9-B1A0-4FB3-81A8-972F92FF3DBA}" srcOrd="0" destOrd="0" presId="urn:microsoft.com/office/officeart/2005/8/layout/list1"/>
    <dgm:cxn modelId="{BB8709D9-4FE9-4959-93AE-41AE360E651E}" type="presParOf" srcId="{C7B815B8-E06E-46E9-89F1-17BEEEEDDEC6}" destId="{351170EF-8128-4D03-9CC2-4FEFD0251BB2}" srcOrd="0" destOrd="0" presId="urn:microsoft.com/office/officeart/2005/8/layout/list1"/>
    <dgm:cxn modelId="{DE2F233A-BBE8-4D49-B4BE-DB116F4F718D}" type="presParOf" srcId="{351170EF-8128-4D03-9CC2-4FEFD0251BB2}" destId="{7B09038B-3C92-4972-B7CD-F241875EEFFF}" srcOrd="0" destOrd="0" presId="urn:microsoft.com/office/officeart/2005/8/layout/list1"/>
    <dgm:cxn modelId="{236BD43D-D9BD-4A66-89A3-7D749ED0208E}" type="presParOf" srcId="{351170EF-8128-4D03-9CC2-4FEFD0251BB2}" destId="{181A1799-AA6A-4E1E-A08B-70CCE6F0AFED}" srcOrd="1" destOrd="0" presId="urn:microsoft.com/office/officeart/2005/8/layout/list1"/>
    <dgm:cxn modelId="{3AC83050-8E36-43F3-A19F-BB1377FB1860}" type="presParOf" srcId="{C7B815B8-E06E-46E9-89F1-17BEEEEDDEC6}" destId="{E3E0F7B1-0959-4333-980E-E19BA34D57B2}" srcOrd="1" destOrd="0" presId="urn:microsoft.com/office/officeart/2005/8/layout/list1"/>
    <dgm:cxn modelId="{4BEC1C49-CF47-44A9-8193-0A6C8BCC1522}" type="presParOf" srcId="{C7B815B8-E06E-46E9-89F1-17BEEEEDDEC6}" destId="{C0E3BF1D-5F44-4AB0-BAAA-806A265C9232}" srcOrd="2" destOrd="0" presId="urn:microsoft.com/office/officeart/2005/8/layout/list1"/>
    <dgm:cxn modelId="{AD6A3EA4-25CC-43BA-98B5-5B3D32C301D8}" type="presParOf" srcId="{C7B815B8-E06E-46E9-89F1-17BEEEEDDEC6}" destId="{618C4115-CCDD-4547-8201-553353C859EF}" srcOrd="3" destOrd="0" presId="urn:microsoft.com/office/officeart/2005/8/layout/list1"/>
    <dgm:cxn modelId="{9C5FCB58-3A89-41AA-9C7B-C604B89263A9}" type="presParOf" srcId="{C7B815B8-E06E-46E9-89F1-17BEEEEDDEC6}" destId="{3B67529A-D5D2-4238-984B-4BBCA111B3E7}" srcOrd="4" destOrd="0" presId="urn:microsoft.com/office/officeart/2005/8/layout/list1"/>
    <dgm:cxn modelId="{64155C60-8AD6-4A3D-A86F-1C4E6C7EFA4B}" type="presParOf" srcId="{3B67529A-D5D2-4238-984B-4BBCA111B3E7}" destId="{F03EAFF9-B1A0-4FB3-81A8-972F92FF3DBA}" srcOrd="0" destOrd="0" presId="urn:microsoft.com/office/officeart/2005/8/layout/list1"/>
    <dgm:cxn modelId="{A4F94F40-E2DA-49F6-BF38-077B1C34E10F}" type="presParOf" srcId="{3B67529A-D5D2-4238-984B-4BBCA111B3E7}" destId="{1B2B70C5-67BE-44F8-BC2C-E0A507658A84}" srcOrd="1" destOrd="0" presId="urn:microsoft.com/office/officeart/2005/8/layout/list1"/>
    <dgm:cxn modelId="{9C7D316B-B0F0-469F-AB8B-27C1C25A99C9}" type="presParOf" srcId="{C7B815B8-E06E-46E9-89F1-17BEEEEDDEC6}" destId="{51BEC735-BDB7-4650-8C11-71288A4F7557}" srcOrd="5" destOrd="0" presId="urn:microsoft.com/office/officeart/2005/8/layout/list1"/>
    <dgm:cxn modelId="{8929C050-8E3F-44BA-96BE-52CCF37AEEB5}" type="presParOf" srcId="{C7B815B8-E06E-46E9-89F1-17BEEEEDDEC6}" destId="{94F63178-D5D8-4CE7-955A-82E4E089444A}" srcOrd="6" destOrd="0" presId="urn:microsoft.com/office/officeart/2005/8/layout/list1"/>
    <dgm:cxn modelId="{F8AD4CA9-00BB-479F-AA92-8CF31D1EB84E}" type="presParOf" srcId="{C7B815B8-E06E-46E9-89F1-17BEEEEDDEC6}" destId="{C5F1DCC0-C9E8-4A3A-994A-B1455448C973}" srcOrd="7" destOrd="0" presId="urn:microsoft.com/office/officeart/2005/8/layout/list1"/>
    <dgm:cxn modelId="{E748D5C9-197C-400D-AEFE-C8DDFC527E01}" type="presParOf" srcId="{C7B815B8-E06E-46E9-89F1-17BEEEEDDEC6}" destId="{6AFD9B30-AF96-464E-BA9E-85834A1F24C4}" srcOrd="8" destOrd="0" presId="urn:microsoft.com/office/officeart/2005/8/layout/list1"/>
    <dgm:cxn modelId="{86C214A8-9225-4C1D-A820-CB4360AADF40}" type="presParOf" srcId="{6AFD9B30-AF96-464E-BA9E-85834A1F24C4}" destId="{A77E8835-1094-459A-902B-308D9DB9548A}" srcOrd="0" destOrd="0" presId="urn:microsoft.com/office/officeart/2005/8/layout/list1"/>
    <dgm:cxn modelId="{8ACB4B19-734C-4A38-BD7E-4197EF26808F}" type="presParOf" srcId="{6AFD9B30-AF96-464E-BA9E-85834A1F24C4}" destId="{17D249AD-9D44-4475-803A-801DE570D117}" srcOrd="1" destOrd="0" presId="urn:microsoft.com/office/officeart/2005/8/layout/list1"/>
    <dgm:cxn modelId="{951E3675-441B-4A3A-BC15-49C51F2246DC}" type="presParOf" srcId="{C7B815B8-E06E-46E9-89F1-17BEEEEDDEC6}" destId="{89983FCD-0B78-49FD-9325-95D0F99B37C2}" srcOrd="9" destOrd="0" presId="urn:microsoft.com/office/officeart/2005/8/layout/list1"/>
    <dgm:cxn modelId="{A3CF34E1-9043-4598-93A6-277572EE8FFA}" type="presParOf" srcId="{C7B815B8-E06E-46E9-89F1-17BEEEEDDEC6}" destId="{2E31C7E1-C9BB-4924-8685-FFD8C873BA9D}" srcOrd="10"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Basic Transcribing </a:t>
          </a:r>
          <a:r>
            <a:rPr lang="en-US" sz="2000"/>
            <a:t>allows a test administrator to transfer student responses into TDS when a student is unable to accomplish this task independently. A student may receive this support if served by an ARD committee, Section 504 committee, </a:t>
          </a:r>
          <a:r>
            <a:rPr lang="en-US" sz="2000" b="1" err="1">
              <a:latin typeface="Calibri Light" panose="020F0302020204030204"/>
            </a:rPr>
            <a:t>RtI</a:t>
          </a:r>
          <a:r>
            <a:rPr lang="en-US" sz="2000"/>
            <a:t> committee, or student assistance team. </a:t>
          </a:r>
        </a:p>
        <a:p>
          <a:pPr algn="l"/>
          <a:endParaRPr lang="en-US" sz="240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buClr>
              <a:srgbClr val="FF8134"/>
            </a:buClr>
            <a:buSzTx/>
            <a:buFont typeface="Wingdings" panose="05000000000000000000" pitchFamily="2" charset="2"/>
            <a:buChar char="§"/>
          </a:pPr>
          <a:r>
            <a:rPr kumimoji="0" lang="en-US" sz="2000" b="0" i="0" u="none" strike="noStrike" cap="none" spc="0" normalizeH="0" baseline="0" noProof="0">
              <a:ln>
                <a:noFill/>
              </a:ln>
              <a:solidFill>
                <a:srgbClr val="0D6CB9"/>
              </a:solidFill>
              <a:effectLst/>
              <a:uLnTx/>
              <a:uFillTx/>
              <a:latin typeface="Calibri"/>
              <a:cs typeface="Calibri"/>
            </a:rPr>
            <a:t>If the student is not receiving special education or Section 504 services, the decision should be based on consistent academic struggles in the specific area even after intensive instruction and remediation. </a:t>
          </a:r>
          <a:endParaRPr lang="en-US" sz="2000">
            <a:solidFill>
              <a:srgbClr val="0D6CB9"/>
            </a:solidFill>
          </a:endParaRPr>
        </a:p>
      </dgm: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6B35D56E-6707-4595-8455-BDB7BFF761EA}">
      <dgm:prSet phldrT="[Text]" custT="1"/>
      <dgm:spPr>
        <a:solidFill>
          <a:schemeClr val="bg1"/>
        </a:solidFill>
        <a:ln>
          <a:solidFill>
            <a:srgbClr val="F16038"/>
          </a:solidFill>
        </a:ln>
      </dgm:spPr>
      <dgm:t>
        <a:bodyPr anchor="t"/>
        <a:lstStyle/>
        <a:p>
          <a:pPr>
            <a:buClr>
              <a:srgbClr val="FF8134"/>
            </a:buClr>
            <a:buSzTx/>
            <a:buFont typeface="Wingdings" panose="05000000000000000000" pitchFamily="2" charset="2"/>
            <a:buChar char="§"/>
          </a:pPr>
          <a:r>
            <a:rPr kumimoji="0" lang="en-US" sz="2000" b="0" i="0" u="none" strike="noStrike" cap="none" spc="0" normalizeH="0" baseline="0" noProof="0">
              <a:ln>
                <a:noFill/>
              </a:ln>
              <a:solidFill>
                <a:srgbClr val="0D6CB9"/>
              </a:solidFill>
              <a:effectLst/>
              <a:uLnTx/>
              <a:uFillTx/>
              <a:latin typeface="Calibri"/>
              <a:cs typeface="Calibri"/>
            </a:rPr>
            <a:t>Eligibility </a:t>
          </a:r>
          <a:r>
            <a:rPr lang="en-US" sz="2000">
              <a:solidFill>
                <a:srgbClr val="0D6CB9"/>
              </a:solidFill>
              <a:latin typeface="Calibri"/>
              <a:cs typeface="Calibri"/>
            </a:rPr>
            <a:t>includes</a:t>
          </a:r>
          <a:r>
            <a:rPr kumimoji="0" lang="en-US" sz="2000" b="0" i="0" u="none" strike="noStrike" cap="none" spc="0" normalizeH="0" baseline="0" noProof="0">
              <a:ln>
                <a:noFill/>
              </a:ln>
              <a:solidFill>
                <a:srgbClr val="0D6CB9"/>
              </a:solidFill>
              <a:effectLst/>
              <a:uLnTx/>
              <a:uFillTx/>
              <a:latin typeface="Calibri"/>
              <a:cs typeface="Calibri"/>
            </a:rPr>
            <a:t> routine (i.e., is familiar with the tool and its presentation) and effective (some evidence of previous success) use of the support in classroom instruction and testing.</a:t>
          </a: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pPr algn="ctr">
            <a:buClr>
              <a:srgbClr val="FF8134"/>
            </a:buClr>
            <a:buSzTx/>
            <a:buFont typeface="Wingdings" panose="05000000000000000000" pitchFamily="2" charset="2"/>
            <a:buChar char="§"/>
          </a:pPr>
          <a:r>
            <a:rPr kumimoji="0" lang="en-US" sz="2000" b="0" i="0" u="none" strike="noStrike" cap="none" spc="0" normalizeH="0" baseline="0" noProof="0" dirty="0">
              <a:ln>
                <a:noFill/>
              </a:ln>
              <a:solidFill>
                <a:srgbClr val="0D6CB9"/>
              </a:solidFill>
              <a:effectLst/>
              <a:uLnTx/>
              <a:uFillTx/>
              <a:latin typeface="Calibri"/>
              <a:cs typeface="Calibri"/>
            </a:rPr>
            <a:t>If the student uses speech-to-text technology to indicate responses for the constructed response questions, please refer to our Technology Use Guidelines document.</a:t>
          </a:r>
          <a:endParaRPr lang="en-US" sz="2000" dirty="0">
            <a:solidFill>
              <a:srgbClr val="0D6CB9"/>
            </a:solidFill>
          </a:endParaRP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dgm:spPr>
        <a:solidFill>
          <a:schemeClr val="bg1"/>
        </a:solidFill>
        <a:ln>
          <a:solidFill>
            <a:srgbClr val="F16038"/>
          </a:solidFill>
        </a:ln>
      </dgm:spPr>
      <dgm:t>
        <a:bodyPr/>
        <a:lstStyle/>
        <a:p>
          <a:pPr>
            <a:buClr>
              <a:srgbClr val="FF8134"/>
            </a:buClr>
            <a:buSzTx/>
            <a:buFont typeface="Wingdings" panose="05000000000000000000" pitchFamily="2" charset="2"/>
            <a:buChar char="§"/>
          </a:pPr>
          <a:r>
            <a:rPr kumimoji="0" lang="en-US" b="0" i="0" u="none" strike="noStrike" cap="none" spc="0" normalizeH="0" baseline="0" noProof="0">
              <a:ln>
                <a:noFill/>
              </a:ln>
              <a:solidFill>
                <a:srgbClr val="0D6CB9"/>
              </a:solidFill>
              <a:effectLst/>
              <a:uLnTx/>
              <a:uFillTx/>
              <a:latin typeface="Calibri"/>
              <a:cs typeface="Calibri"/>
            </a:rPr>
            <a:t>The student may dictate or </a:t>
          </a:r>
          <a:r>
            <a:rPr lang="en-US">
              <a:solidFill>
                <a:srgbClr val="0D6CB9"/>
              </a:solidFill>
              <a:latin typeface="Calibri"/>
              <a:cs typeface="Calibri"/>
            </a:rPr>
            <a:t>sign</a:t>
          </a:r>
          <a:r>
            <a:rPr kumimoji="0" lang="en-US" b="0" i="0" u="none" strike="noStrike" cap="none" spc="0" normalizeH="0" baseline="0" noProof="0">
              <a:ln>
                <a:noFill/>
              </a:ln>
              <a:solidFill>
                <a:srgbClr val="0D6CB9"/>
              </a:solidFill>
              <a:effectLst/>
              <a:uLnTx/>
              <a:uFillTx/>
              <a:latin typeface="Calibri"/>
              <a:cs typeface="Calibri"/>
            </a:rPr>
            <a:t> information to be recorded in the margins of the test booklet or in the notes tool for online tests</a:t>
          </a:r>
          <a:r>
            <a:rPr lang="en-US">
              <a:solidFill>
                <a:srgbClr val="0D6CB9"/>
              </a:solidFill>
              <a:latin typeface="Calibri"/>
              <a:cs typeface="Calibri"/>
            </a:rPr>
            <a:t>.</a:t>
          </a:r>
          <a:r>
            <a:rPr kumimoji="0" lang="en-US" b="0" i="0" u="none" strike="noStrike" cap="none" spc="0" normalizeH="0" baseline="0" noProof="0">
              <a:ln>
                <a:noFill/>
              </a:ln>
              <a:solidFill>
                <a:srgbClr val="0D6CB9"/>
              </a:solidFill>
              <a:effectLst/>
              <a:uLnTx/>
              <a:uFillTx/>
              <a:latin typeface="Calibri"/>
              <a:cs typeface="Calibri"/>
            </a:rPr>
            <a:t> (</a:t>
          </a:r>
          <a:r>
            <a:rPr lang="en-US">
              <a:solidFill>
                <a:srgbClr val="0D6CB9"/>
              </a:solidFill>
              <a:latin typeface="Calibri"/>
              <a:cs typeface="Calibri"/>
            </a:rPr>
            <a:t>Does</a:t>
          </a:r>
          <a:r>
            <a:rPr kumimoji="0" lang="en-US" b="0" i="0" u="none" strike="noStrike" cap="none" spc="0" normalizeH="0" baseline="0" noProof="0">
              <a:ln>
                <a:noFill/>
              </a:ln>
              <a:solidFill>
                <a:srgbClr val="0D6CB9"/>
              </a:solidFill>
              <a:effectLst/>
              <a:uLnTx/>
              <a:uFillTx/>
              <a:latin typeface="Calibri"/>
              <a:cs typeface="Calibri"/>
            </a:rPr>
            <a:t> NOT apply to math calculations or responses to the written composition</a:t>
          </a:r>
          <a:r>
            <a:rPr lang="en-US">
              <a:solidFill>
                <a:srgbClr val="0D6CB9"/>
              </a:solidFill>
              <a:latin typeface="Calibri"/>
              <a:cs typeface="Calibri"/>
            </a:rPr>
            <a:t>.)</a:t>
          </a:r>
          <a:endParaRPr lang="en-US">
            <a:solidFill>
              <a:srgbClr val="0D6CB9"/>
            </a:solidFill>
          </a:endParaRP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ScaleX="101059">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custScaleX="102287" custLinFactNeighborX="-1070" custLinFactNeighborY="-399">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1" presStyleCnt="2">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Basic Transcribing </a:t>
          </a:r>
          <a:r>
            <a:rPr lang="en-US" sz="2000" b="0"/>
            <a:t>(continued):</a:t>
          </a:r>
          <a:endParaRPr lang="en-US" sz="24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nchor="ctr"/>
        <a:lstStyle/>
        <a:p>
          <a:pPr algn="just">
            <a:buClr>
              <a:srgbClr val="FF8134"/>
            </a:buClr>
            <a:buSzTx/>
            <a:buFont typeface="Wingdings" charset="2"/>
            <a:buChar char="§"/>
          </a:pPr>
          <a:r>
            <a:rPr kumimoji="0" lang="en-US" sz="2000" b="0" i="0" u="none" strike="noStrike" cap="none" spc="0" normalizeH="0" baseline="0" noProof="0">
              <a:ln>
                <a:noFill/>
              </a:ln>
              <a:solidFill>
                <a:srgbClr val="0D6CB9"/>
              </a:solidFill>
              <a:effectLst/>
              <a:uLnTx/>
              <a:uFillTx/>
              <a:latin typeface="Calibri"/>
              <a:ea typeface="+mn-ea"/>
              <a:cs typeface="Calibri"/>
            </a:rPr>
            <a:t>The student must be given the full time allotted to complete the entire test. It is allowable for the student to review the transcription and make any edits within the time constraints of the assessment. This means that the student can change his or her response </a:t>
          </a:r>
          <a:r>
            <a:rPr kumimoji="0" lang="en-US" sz="2000" b="1" i="0" u="none" strike="noStrike" cap="none" spc="0" normalizeH="0" baseline="0" noProof="0">
              <a:ln>
                <a:noFill/>
              </a:ln>
              <a:solidFill>
                <a:srgbClr val="0D6CB9"/>
              </a:solidFill>
              <a:effectLst/>
              <a:uLnTx/>
              <a:uFillTx/>
              <a:latin typeface="Calibri"/>
              <a:ea typeface="+mn-ea"/>
              <a:cs typeface="Calibri"/>
            </a:rPr>
            <a:t>ONLY</a:t>
          </a:r>
          <a:r>
            <a:rPr kumimoji="0" lang="en-US" sz="2000" b="0" i="0" u="none" strike="noStrike" cap="none" spc="0" normalizeH="0" baseline="0" noProof="0">
              <a:ln>
                <a:noFill/>
              </a:ln>
              <a:solidFill>
                <a:srgbClr val="0D6CB9"/>
              </a:solidFill>
              <a:effectLst/>
              <a:uLnTx/>
              <a:uFillTx/>
              <a:latin typeface="Calibri"/>
              <a:ea typeface="+mn-ea"/>
              <a:cs typeface="Calibri"/>
            </a:rPr>
            <a:t> within the seven hour time limit of the test.</a:t>
          </a:r>
          <a:endParaRPr lang="en-US" sz="2000">
            <a:latin typeface="Calibri"/>
            <a:ea typeface="+mn-ea"/>
            <a:cs typeface="Calibri"/>
          </a:endParaRPr>
        </a:p>
      </dgm: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25302B53-6A51-4710-96F8-78ABB1DE0CA0}">
      <dgm:prSet phldrT="[Text]" custT="1"/>
      <dgm:spPr>
        <a:solidFill>
          <a:schemeClr val="bg1"/>
        </a:solidFill>
        <a:ln>
          <a:solidFill>
            <a:srgbClr val="F16038"/>
          </a:solidFill>
        </a:ln>
      </dgm:spPr>
      <dgm:t>
        <a:bodyPr/>
        <a:lstStyle/>
        <a:p>
          <a:pPr>
            <a:buClr>
              <a:srgbClr val="FF8134"/>
            </a:buClr>
            <a:buSzTx/>
            <a:buFont typeface="Wingdings" panose="05000000000000000000" pitchFamily="2" charset="2"/>
            <a:buChar char="§"/>
          </a:pPr>
          <a:r>
            <a:rPr kumimoji="0" lang="en-US" sz="2000" b="0" i="0" u="none" strike="noStrike" cap="none" spc="0" normalizeH="0" baseline="0" noProof="0">
              <a:ln>
                <a:noFill/>
              </a:ln>
              <a:solidFill>
                <a:srgbClr val="0D6CB9"/>
              </a:solidFill>
              <a:effectLst/>
              <a:uLnTx/>
              <a:uFillTx/>
              <a:latin typeface="Calibri"/>
              <a:cs typeface="Calibri"/>
            </a:rPr>
            <a:t>The student may dictate or </a:t>
          </a:r>
          <a:r>
            <a:rPr lang="en-US" sz="2000">
              <a:solidFill>
                <a:srgbClr val="0D6CB9"/>
              </a:solidFill>
              <a:latin typeface="Calibri"/>
              <a:cs typeface="Calibri"/>
            </a:rPr>
            <a:t>sign</a:t>
          </a:r>
          <a:r>
            <a:rPr kumimoji="0" lang="en-US" sz="2000" b="0" i="0" u="none" strike="noStrike" cap="none" spc="0" normalizeH="0" baseline="0" noProof="0">
              <a:ln>
                <a:noFill/>
              </a:ln>
              <a:solidFill>
                <a:srgbClr val="0D6CB9"/>
              </a:solidFill>
              <a:effectLst/>
              <a:uLnTx/>
              <a:uFillTx/>
              <a:latin typeface="Calibri"/>
              <a:cs typeface="Calibri"/>
            </a:rPr>
            <a:t> information to be recorded in the margins of the test booklet or in the notes tool for online tests</a:t>
          </a:r>
          <a:r>
            <a:rPr lang="en-US" sz="2000">
              <a:solidFill>
                <a:srgbClr val="0D6CB9"/>
              </a:solidFill>
              <a:latin typeface="Calibri"/>
              <a:cs typeface="Calibri"/>
            </a:rPr>
            <a:t>.</a:t>
          </a:r>
          <a:r>
            <a:rPr kumimoji="0" lang="en-US" sz="2000" b="0" i="0" u="none" strike="noStrike" cap="none" spc="0" normalizeH="0" baseline="0" noProof="0">
              <a:ln>
                <a:noFill/>
              </a:ln>
              <a:solidFill>
                <a:srgbClr val="0D6CB9"/>
              </a:solidFill>
              <a:effectLst/>
              <a:uLnTx/>
              <a:uFillTx/>
              <a:latin typeface="Calibri"/>
              <a:cs typeface="Calibri"/>
            </a:rPr>
            <a:t> (</a:t>
          </a:r>
          <a:r>
            <a:rPr lang="en-US" sz="2000">
              <a:solidFill>
                <a:srgbClr val="0D6CB9"/>
              </a:solidFill>
              <a:latin typeface="Calibri"/>
              <a:cs typeface="Calibri"/>
            </a:rPr>
            <a:t>Does</a:t>
          </a:r>
          <a:r>
            <a:rPr kumimoji="0" lang="en-US" sz="2000" b="0" i="0" u="none" strike="noStrike" cap="none" spc="0" normalizeH="0" baseline="0" noProof="0">
              <a:ln>
                <a:noFill/>
              </a:ln>
              <a:solidFill>
                <a:srgbClr val="0D6CB9"/>
              </a:solidFill>
              <a:effectLst/>
              <a:uLnTx/>
              <a:uFillTx/>
              <a:latin typeface="Calibri"/>
              <a:cs typeface="Calibri"/>
            </a:rPr>
            <a:t> NOT apply to math calculations or responses to the written composition</a:t>
          </a:r>
          <a:r>
            <a:rPr lang="en-US" sz="2000">
              <a:solidFill>
                <a:srgbClr val="0D6CB9"/>
              </a:solidFill>
              <a:latin typeface="Calibri"/>
              <a:cs typeface="Calibri"/>
            </a:rPr>
            <a:t>.)</a:t>
          </a:r>
          <a:endParaRPr lang="en-US" sz="2000">
            <a:solidFill>
              <a:srgbClr val="0D6CB9"/>
            </a:solidFill>
          </a:endParaRP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54628"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ScaleY="194812">
        <dgm:presLayoutVars>
          <dgm:chPref val="3"/>
        </dgm:presLayoutVars>
      </dgm:prSet>
      <dgm:spPr/>
    </dgm:pt>
    <dgm:pt modelId="{8904DE32-5DE2-4A56-9909-DDB28CE184CC}" type="pres">
      <dgm:prSet presAssocID="{E4D1BD34-AB22-431C-8FF4-D1B722B1EBA9}" presName="horzTwo" presStyleCnt="0"/>
      <dgm:spPr/>
    </dgm:pt>
    <dgm:pt modelId="{E0E7A5CB-9510-495B-BDED-5B1E5B88559A}" type="pres">
      <dgm:prSet presAssocID="{9EC22442-CDEE-4A74-B620-99A6314C5829}" presName="sibSpaceTwo" presStyleCnt="0"/>
      <dgm:spPr/>
    </dgm:pt>
    <dgm:pt modelId="{6DEFF955-ACFA-4FB0-B984-6936C6963BA6}" type="pres">
      <dgm:prSet presAssocID="{25302B53-6A51-4710-96F8-78ABB1DE0CA0}" presName="vertTwo" presStyleCnt="0"/>
      <dgm:spPr/>
    </dgm:pt>
    <dgm:pt modelId="{C46213F9-9FC7-4E93-A877-C5E1AE9B8274}" type="pres">
      <dgm:prSet presAssocID="{25302B53-6A51-4710-96F8-78ABB1DE0CA0}" presName="txTwo" presStyleLbl="node2" presStyleIdx="1" presStyleCnt="2">
        <dgm:presLayoutVars>
          <dgm:chPref val="3"/>
        </dgm:presLayoutVars>
      </dgm:prSet>
      <dgm:spPr/>
    </dgm:pt>
    <dgm:pt modelId="{BE8541FF-4B4E-469C-8A7F-4C5F7FC443C0}" type="pres">
      <dgm:prSet presAssocID="{25302B53-6A51-4710-96F8-78ABB1DE0CA0}" presName="horzTwo" presStyleCnt="0"/>
      <dgm:spPr/>
    </dgm:pt>
  </dgm:ptLst>
  <dgm:cxnLst>
    <dgm:cxn modelId="{AD1F2107-2B49-4B69-92B1-F8057F1B62D2}" type="presOf" srcId="{5C208612-5DE7-40FD-AB85-24F5FEE384E8}" destId="{5C2742FE-7329-4DDC-BC71-07253AC9681B}" srcOrd="0" destOrd="0" presId="urn:microsoft.com/office/officeart/2005/8/layout/hierarchy4"/>
    <dgm:cxn modelId="{52334F50-5525-46DF-A7FF-EEFF5FE55C8A}" type="presOf" srcId="{E4D1BD34-AB22-431C-8FF4-D1B722B1EBA9}" destId="{958FB0CF-2EA0-4CFE-9283-F26E975A5CDB}" srcOrd="0" destOrd="0" presId="urn:microsoft.com/office/officeart/2005/8/layout/hierarchy4"/>
    <dgm:cxn modelId="{8525CE99-8B7A-42AD-B98D-40CD5A6BD29D}" srcId="{5C208612-5DE7-40FD-AB85-24F5FEE384E8}" destId="{E4D1BD34-AB22-431C-8FF4-D1B722B1EBA9}" srcOrd="0" destOrd="0" parTransId="{DD9370DF-338E-4433-B01F-4FAB787800FC}" sibTransId="{9EC22442-CDEE-4A74-B620-99A6314C5829}"/>
    <dgm:cxn modelId="{B90A789F-4F0A-44B4-9B53-CC9676A539C2}" srcId="{5C208612-5DE7-40FD-AB85-24F5FEE384E8}" destId="{25302B53-6A51-4710-96F8-78ABB1DE0CA0}" srcOrd="1" destOrd="0" parTransId="{7BB07296-A576-47AE-9E1E-78AC60CAF7DD}" sibTransId="{98D58E38-4822-438A-B1F5-DB3E6F3C451E}"/>
    <dgm:cxn modelId="{34EFD0C9-4A91-4FFC-A03D-28725A2A0DAF}" srcId="{29640B64-F787-42C6-896F-579E7EF0E3E7}" destId="{5C208612-5DE7-40FD-AB85-24F5FEE384E8}" srcOrd="0" destOrd="0" parTransId="{6278E673-ADC2-445E-B057-6514962C10BE}" sibTransId="{F8CBE19A-72DB-4FCA-88ED-475F831E94BC}"/>
    <dgm:cxn modelId="{C2B80ADD-7A6C-42F8-B58B-4495C5CFD0CA}" type="presOf" srcId="{25302B53-6A51-4710-96F8-78ABB1DE0CA0}" destId="{C46213F9-9FC7-4E93-A877-C5E1AE9B8274}"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AFED662F-DC68-4E01-A37E-4230A0E5653E}" type="presParOf" srcId="{8B4529E8-F0B1-4DF1-A5D9-C41B5B3A34E3}" destId="{0B5ECF28-8AD8-42A6-83E4-2EA0792223E2}" srcOrd="0" destOrd="0" presId="urn:microsoft.com/office/officeart/2005/8/layout/hierarchy4"/>
    <dgm:cxn modelId="{0A6D6C1F-37FD-45F3-9582-B590D3C356DC}" type="presParOf" srcId="{0B5ECF28-8AD8-42A6-83E4-2EA0792223E2}" destId="{5C2742FE-7329-4DDC-BC71-07253AC9681B}" srcOrd="0" destOrd="0" presId="urn:microsoft.com/office/officeart/2005/8/layout/hierarchy4"/>
    <dgm:cxn modelId="{49853C66-CFB4-4245-8E78-97CD029174A7}" type="presParOf" srcId="{0B5ECF28-8AD8-42A6-83E4-2EA0792223E2}" destId="{33AE3D73-BEA3-4A7B-9E65-B50E632C65F0}" srcOrd="1" destOrd="0" presId="urn:microsoft.com/office/officeart/2005/8/layout/hierarchy4"/>
    <dgm:cxn modelId="{47CC640E-BDA4-47CA-84CB-61044294A220}" type="presParOf" srcId="{0B5ECF28-8AD8-42A6-83E4-2EA0792223E2}" destId="{0AC39A0B-5DD0-4828-AF09-44532F324E64}" srcOrd="2" destOrd="0" presId="urn:microsoft.com/office/officeart/2005/8/layout/hierarchy4"/>
    <dgm:cxn modelId="{213D8AB3-F977-48B8-9495-0ABF6C74ADFB}" type="presParOf" srcId="{0AC39A0B-5DD0-4828-AF09-44532F324E64}" destId="{D62E1C26-C196-495E-9895-4E64182E81B3}" srcOrd="0" destOrd="0" presId="urn:microsoft.com/office/officeart/2005/8/layout/hierarchy4"/>
    <dgm:cxn modelId="{DC433229-3B6B-49B1-87EA-4BB34344FE8F}" type="presParOf" srcId="{D62E1C26-C196-495E-9895-4E64182E81B3}" destId="{958FB0CF-2EA0-4CFE-9283-F26E975A5CDB}" srcOrd="0" destOrd="0" presId="urn:microsoft.com/office/officeart/2005/8/layout/hierarchy4"/>
    <dgm:cxn modelId="{C14D5FF4-104F-4CD1-B3EA-FBE701134A16}" type="presParOf" srcId="{D62E1C26-C196-495E-9895-4E64182E81B3}" destId="{8904DE32-5DE2-4A56-9909-DDB28CE184CC}" srcOrd="1" destOrd="0" presId="urn:microsoft.com/office/officeart/2005/8/layout/hierarchy4"/>
    <dgm:cxn modelId="{CB41CCB8-497A-4557-A5A2-5A1C01C4D5C4}" type="presParOf" srcId="{0AC39A0B-5DD0-4828-AF09-44532F324E64}" destId="{E0E7A5CB-9510-495B-BDED-5B1E5B88559A}" srcOrd="1" destOrd="0" presId="urn:microsoft.com/office/officeart/2005/8/layout/hierarchy4"/>
    <dgm:cxn modelId="{4DBB86AC-9643-41D6-88CD-802A0A42AD92}" type="presParOf" srcId="{0AC39A0B-5DD0-4828-AF09-44532F324E64}" destId="{6DEFF955-ACFA-4FB0-B984-6936C6963BA6}" srcOrd="2" destOrd="0" presId="urn:microsoft.com/office/officeart/2005/8/layout/hierarchy4"/>
    <dgm:cxn modelId="{22A42AFC-878D-422B-A6B1-8BAA3B352C8E}" type="presParOf" srcId="{6DEFF955-ACFA-4FB0-B984-6936C6963BA6}" destId="{C46213F9-9FC7-4E93-A877-C5E1AE9B8274}" srcOrd="0" destOrd="0" presId="urn:microsoft.com/office/officeart/2005/8/layout/hierarchy4"/>
    <dgm:cxn modelId="{DC349CFE-B103-4167-9F52-640E7ED321FE}" type="presParOf" srcId="{6DEFF955-ACFA-4FB0-B984-6936C6963BA6}" destId="{BE8541FF-4B4E-469C-8A7F-4C5F7FC443C0}"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rtl="0"/>
          <a:r>
            <a:rPr lang="en-US" sz="2400" b="1"/>
            <a:t>Braille/Refreshable Braille </a:t>
          </a:r>
          <a:r>
            <a:rPr lang="en-US" sz="2000" b="0"/>
            <a:t>provides </a:t>
          </a:r>
          <a:r>
            <a:rPr lang="en-US" sz="2000" b="0" err="1"/>
            <a:t>brailled</a:t>
          </a:r>
          <a:r>
            <a:rPr lang="en-US" sz="2000" b="0"/>
            <a:t> test materials or screen reader support for refreshable braille (STAAR only) displays to a student with a Visual Impairment (VI) who is unable to access printed test materials.</a:t>
          </a:r>
          <a:r>
            <a:rPr lang="en-US" sz="2000" b="0">
              <a:latin typeface="Calibri Light" panose="020F0302020204030204"/>
            </a:rPr>
            <a:t> </a:t>
          </a:r>
          <a:endParaRPr lang="en-US" sz="2000" b="0"/>
        </a:p>
        <a:p>
          <a:pPr algn="l"/>
          <a:r>
            <a:rPr lang="en-US" sz="2000" b="0"/>
            <a:t>A student may receive this support if it is routinely and effectively used in classroom instruction and testing, </a:t>
          </a:r>
          <a:r>
            <a:rPr lang="en-US" sz="2000" b="1"/>
            <a:t>and</a:t>
          </a:r>
          <a:r>
            <a:rPr lang="en-US" sz="2000" b="0"/>
            <a:t> if the support is determined appropriate by the student’s ARD committee, Section 504 committee, </a:t>
          </a:r>
          <a:r>
            <a:rPr lang="en-US" sz="2000" b="1" err="1">
              <a:latin typeface="Calibri Light" panose="020F0302020204030204"/>
            </a:rPr>
            <a:t>RtI</a:t>
          </a:r>
          <a:r>
            <a:rPr lang="en-US" sz="2000" b="0"/>
            <a:t> committee, or student assistance team.</a:t>
          </a:r>
        </a:p>
        <a:p>
          <a:pPr algn="l"/>
          <a:endParaRPr lang="en-US" sz="2400" b="0"/>
        </a:p>
        <a:p>
          <a:r>
            <a:rPr lang="en-US" sz="2400" b="0"/>
            <a:t>served by an ARD committee, Section 504 committee, RTI committee, or student assistance team</a:t>
          </a: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6B35D56E-6707-4595-8455-BDB7BFF761EA}">
      <dgm:prSet phldrT="[Text]"/>
      <dgm:spPr>
        <a:solidFill>
          <a:schemeClr val="bg1"/>
        </a:solidFill>
        <a:ln>
          <a:solidFill>
            <a:srgbClr val="F16038"/>
          </a:solidFill>
        </a:ln>
      </dgm:spPr>
      <dgm:t>
        <a:bodyPr/>
        <a:lstStyle/>
        <a:p>
          <a:pPr>
            <a:buClr>
              <a:srgbClr val="FF8134"/>
            </a:buClr>
            <a:buSzTx/>
            <a:buFont typeface="Wingdings"/>
            <a:buChar char="§"/>
          </a:pPr>
          <a:r>
            <a:rPr kumimoji="0" lang="en-US" b="0" i="0" u="none" strike="noStrike" cap="none" spc="0" normalizeH="0" baseline="0" noProof="0">
              <a:ln>
                <a:noFill/>
              </a:ln>
              <a:solidFill>
                <a:srgbClr val="0D6CB9"/>
              </a:solidFill>
              <a:effectLst/>
              <a:uLnTx/>
              <a:uFillTx/>
              <a:latin typeface="Calibri"/>
              <a:cs typeface="Calibri"/>
            </a:rPr>
            <a:t>For braille administrations, there is no need to submit an Accommodation Request Form to request "Extra Day". (Included in "General Instructions for Administering Braille State Assessments".)</a:t>
          </a:r>
          <a:endParaRPr lang="en-US">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pPr>
            <a:buClr>
              <a:srgbClr val="FF8134"/>
            </a:buClr>
            <a:buSzTx/>
            <a:buFont typeface="Wingdings"/>
            <a:buChar char="§"/>
          </a:pPr>
          <a:r>
            <a:rPr kumimoji="0" lang="en-US" sz="2000" b="0" i="0" u="none" strike="noStrike" cap="none" spc="0" normalizeH="0" baseline="0" noProof="0">
              <a:ln>
                <a:noFill/>
              </a:ln>
              <a:solidFill>
                <a:srgbClr val="0D6CB9"/>
              </a:solidFill>
              <a:effectLst/>
              <a:uLnTx/>
              <a:uFillTx/>
              <a:latin typeface="Calibri"/>
              <a:cs typeface="Calibri"/>
            </a:rPr>
            <a:t>The state will provide both contracted and uncontracted braille test materials in UEB ONLY.</a:t>
          </a:r>
          <a:endParaRPr lang="en-US" sz="2000">
            <a:solidFill>
              <a:srgbClr val="0D6CB9"/>
            </a:solidFill>
          </a:endParaRP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custT="1"/>
      <dgm:spPr>
        <a:solidFill>
          <a:schemeClr val="bg1"/>
        </a:solidFill>
        <a:ln>
          <a:solidFill>
            <a:srgbClr val="F16038"/>
          </a:solidFill>
        </a:ln>
      </dgm:spPr>
      <dgm:t>
        <a:bodyPr/>
        <a:lstStyle/>
        <a:p>
          <a:pPr rtl="0">
            <a:buClr>
              <a:srgbClr val="FF8134"/>
            </a:buClr>
            <a:buSzTx/>
            <a:buFont typeface="Wingdings"/>
            <a:buChar char="§"/>
          </a:pPr>
          <a:r>
            <a:rPr kumimoji="0" lang="en-US" sz="2000" b="0" i="0" u="none" strike="noStrike" cap="none" spc="0" normalizeH="0" baseline="0" noProof="0">
              <a:ln>
                <a:noFill/>
              </a:ln>
              <a:solidFill>
                <a:srgbClr val="0D6CB9"/>
              </a:solidFill>
              <a:effectLst/>
              <a:uLnTx/>
              <a:uFillTx/>
              <a:latin typeface="Calibri"/>
              <a:cs typeface="Calibri"/>
            </a:rPr>
            <a:t>Accommodations specific to braille test takers will be provided in the “STAAR with Embedded Supports Paper Test Administration Information” accommodation tables and identified for the test administrator as “Braille Instructions ONLY.”</a:t>
          </a:r>
          <a:endParaRPr lang="en-US" sz="2000">
            <a:solidFill>
              <a:srgbClr val="0D6CB9"/>
            </a:solidFill>
          </a:endParaRP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a:buClr>
              <a:srgbClr val="FF8134"/>
            </a:buClr>
            <a:buSzTx/>
            <a:buFont typeface="Wingdings"/>
            <a:buChar char="§"/>
          </a:pPr>
          <a:r>
            <a:rPr kumimoji="0" lang="en-US" sz="2000" b="0" i="0" u="none" strike="noStrike" cap="none" spc="0" normalizeH="0" baseline="0" noProof="0">
              <a:ln>
                <a:noFill/>
              </a:ln>
              <a:solidFill>
                <a:srgbClr val="0D6CB9"/>
              </a:solidFill>
              <a:effectLst/>
              <a:uLnTx/>
              <a:uFillTx/>
              <a:latin typeface="Calibri"/>
              <a:cs typeface="Calibri"/>
            </a:rPr>
            <a:t>Online screen reader support for refreshable braille displays will be available in reading/language arts and social studies assessments.</a:t>
          </a:r>
        </a:p>
      </dgm:t>
    </dgm:pt>
    <dgm:pt modelId="{9EC22442-CDEE-4A74-B620-99A6314C5829}" type="sibTrans" cxnId="{8525CE99-8B7A-42AD-B98D-40CD5A6BD29D}">
      <dgm:prSet/>
      <dgm:spPr/>
      <dgm:t>
        <a:bodyPr/>
        <a:lstStyle/>
        <a:p>
          <a:endParaRPr lang="en-US"/>
        </a:p>
      </dgm:t>
    </dgm:pt>
    <dgm:pt modelId="{DD9370DF-338E-4433-B01F-4FAB787800FC}" type="parTrans" cxnId="{8525CE99-8B7A-42AD-B98D-40CD5A6BD29D}">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118337"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LinFactNeighborX="1738" custLinFactNeighborY="-5797">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custLinFactNeighborY="789">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1" presStyleCnt="2" custLinFactNeighborX="402" custLinFactNeighborY="1495">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Braille/Refreshable Braille </a:t>
          </a:r>
          <a:r>
            <a:rPr lang="en-US" sz="2400" b="0"/>
            <a:t>(continued):</a:t>
          </a: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rtl="0">
            <a:buClr>
              <a:srgbClr val="1682C5"/>
            </a:buClr>
            <a:buSzPct val="95000"/>
            <a:buFont typeface="Arial"/>
            <a:buChar char="•"/>
          </a:pPr>
          <a:r>
            <a:rPr kumimoji="0" lang="en-US" sz="2400" b="0" i="0" u="none" strike="noStrike" cap="none" spc="0" normalizeH="0" baseline="0" noProof="0">
              <a:ln>
                <a:noFill/>
              </a:ln>
              <a:solidFill>
                <a:srgbClr val="0D6CB9"/>
              </a:solidFill>
              <a:effectLst/>
              <a:uLnTx/>
              <a:uFillTx/>
              <a:latin typeface="Calibri"/>
              <a:cs typeface="Calibri"/>
            </a:rPr>
            <a:t>If the qualifying student is an EB student with a disability, the decision is made by the ARD committee </a:t>
          </a:r>
          <a:r>
            <a:rPr kumimoji="0" lang="en-US" sz="2400" b="1" i="0" u="none" strike="noStrike" cap="none" spc="0" normalizeH="0" baseline="0" noProof="0">
              <a:ln>
                <a:noFill/>
              </a:ln>
              <a:solidFill>
                <a:srgbClr val="0D6CB9"/>
              </a:solidFill>
              <a:effectLst/>
              <a:uLnTx/>
              <a:uFillTx/>
              <a:latin typeface="Calibri"/>
              <a:cs typeface="Calibri"/>
            </a:rPr>
            <a:t>in conjunction </a:t>
          </a:r>
          <a:r>
            <a:rPr kumimoji="0" lang="en-US" sz="2400" b="0" i="0" u="none" strike="noStrike" cap="none" spc="0" normalizeH="0" baseline="0" noProof="0">
              <a:ln>
                <a:noFill/>
              </a:ln>
              <a:solidFill>
                <a:srgbClr val="0D6CB9"/>
              </a:solidFill>
              <a:effectLst/>
              <a:uLnTx/>
              <a:uFillTx/>
              <a:latin typeface="Calibri"/>
              <a:cs typeface="Calibri"/>
            </a:rPr>
            <a:t>with the student’s LPAC.</a:t>
          </a:r>
          <a:endParaRPr lang="en-US" sz="2400">
            <a:solidFill>
              <a:srgbClr val="0D6CB9"/>
            </a:solidFill>
          </a:endParaRPr>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pPr>
            <a:buClr>
              <a:srgbClr val="FF8134"/>
            </a:buClr>
            <a:buSzTx/>
            <a:buFont typeface="Wingdings"/>
            <a:buChar char="§"/>
          </a:pPr>
          <a:r>
            <a:rPr kumimoji="0" lang="en-US" sz="2400" b="0" i="0" u="none" strike="noStrike" cap="none" spc="0" normalizeH="0" baseline="0" noProof="0" dirty="0">
              <a:ln>
                <a:noFill/>
              </a:ln>
              <a:solidFill>
                <a:srgbClr val="0D6CB9"/>
              </a:solidFill>
              <a:effectLst/>
              <a:uLnTx/>
              <a:uFillTx/>
              <a:latin typeface="Calibri"/>
              <a:cs typeface="Calibri"/>
            </a:rPr>
            <a:t>Districts can order contracted or uncontracted embedded supports versions of the braille test in TIDE. </a:t>
          </a:r>
          <a:endParaRPr lang="en-US" sz="2400" b="0" dirty="0">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9E49444D-A8F0-4BCC-921F-68AD54D70315}">
      <dgm:prSet phldrT="[Text]" custT="1"/>
      <dgm:spPr>
        <a:solidFill>
          <a:schemeClr val="bg1"/>
        </a:solidFill>
        <a:ln>
          <a:solidFill>
            <a:srgbClr val="F16038"/>
          </a:solidFill>
        </a:ln>
      </dgm:spPr>
      <dgm:t>
        <a:bodyPr/>
        <a:lstStyle/>
        <a:p>
          <a:pPr>
            <a:lnSpc>
              <a:spcPct val="100000"/>
            </a:lnSpc>
            <a:spcBef>
              <a:spcPts val="500"/>
            </a:spcBef>
            <a:buClr>
              <a:srgbClr val="FF8134"/>
            </a:buClr>
            <a:buSzTx/>
            <a:buFont typeface="Wingdings"/>
            <a:buChar char="§"/>
          </a:pPr>
          <a:r>
            <a:rPr lang="en-US" sz="2400" b="0" dirty="0">
              <a:solidFill>
                <a:srgbClr val="0D6CB9"/>
              </a:solidFill>
            </a:rPr>
            <a:t>If a student is testing online with refreshable braille plus</a:t>
          </a:r>
        </a:p>
        <a:p>
          <a:pPr>
            <a:lnSpc>
              <a:spcPct val="100000"/>
            </a:lnSpc>
            <a:spcBef>
              <a:spcPts val="500"/>
            </a:spcBef>
            <a:buClr>
              <a:srgbClr val="FF8134"/>
            </a:buClr>
            <a:buSzTx/>
            <a:buFont typeface="Wingdings"/>
            <a:buChar char="§"/>
          </a:pPr>
          <a:r>
            <a:rPr lang="en-US" sz="2400" b="0" dirty="0">
              <a:solidFill>
                <a:srgbClr val="0D6CB9"/>
              </a:solidFill>
            </a:rPr>
            <a:t>embedded supports, a paper copy </a:t>
          </a:r>
        </a:p>
        <a:p>
          <a:pPr>
            <a:lnSpc>
              <a:spcPct val="100000"/>
            </a:lnSpc>
            <a:spcBef>
              <a:spcPts val="500"/>
            </a:spcBef>
            <a:buClr>
              <a:srgbClr val="FF8134"/>
            </a:buClr>
            <a:buSzTx/>
            <a:buFont typeface="Wingdings"/>
            <a:buChar char="§"/>
          </a:pPr>
          <a:r>
            <a:rPr lang="en-US" sz="2400" b="0" dirty="0">
              <a:solidFill>
                <a:srgbClr val="0D6CB9"/>
              </a:solidFill>
            </a:rPr>
            <a:t>must be ordered as well. </a:t>
          </a:r>
        </a:p>
      </dgm:t>
    </dgm:pt>
    <dgm:pt modelId="{EF3D71E6-6774-4E88-B912-DF0068B34D4A}" type="parTrans" cxnId="{FC0C940D-7B5C-48B6-B9AD-8ABB7B9DDFDA}">
      <dgm:prSet/>
      <dgm:spPr/>
      <dgm:t>
        <a:bodyPr/>
        <a:lstStyle/>
        <a:p>
          <a:endParaRPr lang="en-US"/>
        </a:p>
      </dgm:t>
    </dgm:pt>
    <dgm:pt modelId="{3D7A525E-4DD4-42C1-8A51-480029635899}" type="sibTrans" cxnId="{FC0C940D-7B5C-48B6-B9AD-8ABB7B9DDFDA}">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46635"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1">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dgm:presLayoutVars>
          <dgm:chPref val="3"/>
        </dgm:presLayoutVars>
      </dgm:prSet>
      <dgm:spPr/>
    </dgm:pt>
    <dgm:pt modelId="{9A71E779-F123-45B9-A34F-3E6555885E98}" type="pres">
      <dgm:prSet presAssocID="{6B35D56E-6707-4595-8455-BDB7BFF761EA}" presName="horzThree" presStyleCnt="0"/>
      <dgm:spPr/>
    </dgm:pt>
    <dgm:pt modelId="{E4EB50F7-2A1D-4A9E-B0B1-67E2469317AF}" type="pres">
      <dgm:prSet presAssocID="{6F774487-1E45-4AB8-8A05-838BFF338925}" presName="sibSpaceThree" presStyleCnt="0"/>
      <dgm:spPr/>
    </dgm:pt>
    <dgm:pt modelId="{C2D9D0AC-4C18-416E-B6E9-187AE49B38C9}" type="pres">
      <dgm:prSet presAssocID="{9E49444D-A8F0-4BCC-921F-68AD54D70315}" presName="vertThree" presStyleCnt="0"/>
      <dgm:spPr/>
    </dgm:pt>
    <dgm:pt modelId="{8EE9E4A0-F8AD-40ED-B1B1-64F295CDD9AA}" type="pres">
      <dgm:prSet presAssocID="{9E49444D-A8F0-4BCC-921F-68AD54D70315}" presName="txThree" presStyleLbl="node3" presStyleIdx="1" presStyleCnt="2">
        <dgm:presLayoutVars>
          <dgm:chPref val="3"/>
        </dgm:presLayoutVars>
      </dgm:prSet>
      <dgm:spPr/>
    </dgm:pt>
    <dgm:pt modelId="{A20DF930-8E1B-444D-9FEE-427F2ADE669B}" type="pres">
      <dgm:prSet presAssocID="{9E49444D-A8F0-4BCC-921F-68AD54D70315}" presName="horzThree" presStyleCnt="0"/>
      <dgm:spPr/>
    </dgm:pt>
  </dgm:ptLst>
  <dgm:cxnLst>
    <dgm:cxn modelId="{FC0C940D-7B5C-48B6-B9AD-8ABB7B9DDFDA}" srcId="{E4D1BD34-AB22-431C-8FF4-D1B722B1EBA9}" destId="{9E49444D-A8F0-4BCC-921F-68AD54D70315}" srcOrd="1" destOrd="0" parTransId="{EF3D71E6-6774-4E88-B912-DF0068B34D4A}" sibTransId="{3D7A525E-4DD4-42C1-8A51-480029635899}"/>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C02F8CAA-EB5A-4D94-8954-A2B462E2DD79}" type="presOf" srcId="{6B35D56E-6707-4595-8455-BDB7BFF761EA}" destId="{D860588E-36D3-4090-A8EF-DA2D6AF23FE0}" srcOrd="0" destOrd="0" presId="urn:microsoft.com/office/officeart/2005/8/layout/hierarchy4"/>
    <dgm:cxn modelId="{C8D700B9-CA27-4DE3-9CD0-EE4D331E418C}" type="presOf" srcId="{9E49444D-A8F0-4BCC-921F-68AD54D70315}" destId="{8EE9E4A0-F8AD-40ED-B1B1-64F295CDD9AA}" srcOrd="0" destOrd="0" presId="urn:microsoft.com/office/officeart/2005/8/layout/hierarchy4"/>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0CB58DE4-996B-4101-8AED-384FFA1DA5DD}" type="presParOf" srcId="{8904DE32-5DE2-4A56-9909-DDB28CE184CC}" destId="{E4EB50F7-2A1D-4A9E-B0B1-67E2469317AF}" srcOrd="1" destOrd="0" presId="urn:microsoft.com/office/officeart/2005/8/layout/hierarchy4"/>
    <dgm:cxn modelId="{5DC2B606-9DB0-4A21-BA2C-215D9BD8CFA5}" type="presParOf" srcId="{8904DE32-5DE2-4A56-9909-DDB28CE184CC}" destId="{C2D9D0AC-4C18-416E-B6E9-187AE49B38C9}" srcOrd="2" destOrd="0" presId="urn:microsoft.com/office/officeart/2005/8/layout/hierarchy4"/>
    <dgm:cxn modelId="{65A129CD-8EF6-4ED6-ACC5-33417F0AEF3C}" type="presParOf" srcId="{C2D9D0AC-4C18-416E-B6E9-187AE49B38C9}" destId="{8EE9E4A0-F8AD-40ED-B1B1-64F295CDD9AA}" srcOrd="0" destOrd="0" presId="urn:microsoft.com/office/officeart/2005/8/layout/hierarchy4"/>
    <dgm:cxn modelId="{8093B589-1961-4985-9BEF-B3C6689F1563}" type="presParOf" srcId="{C2D9D0AC-4C18-416E-B6E9-187AE49B38C9}" destId="{A20DF930-8E1B-444D-9FEE-427F2ADE669B}"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Calculation</a:t>
          </a:r>
          <a:r>
            <a:rPr lang="en-US" sz="2400" b="1" baseline="0"/>
            <a:t> Aids </a:t>
          </a:r>
          <a:r>
            <a:rPr lang="en-US" sz="2400" b="0" baseline="0"/>
            <a:t>provide an alternate method of computation for a student who is unable to effectively use paper-and-pencil methods. A student may receive this support if the student is served by an ARD or Section 504 committee.</a:t>
          </a:r>
        </a:p>
        <a:p>
          <a:endParaRPr lang="en-US" sz="2400" b="0" baseline="0"/>
        </a:p>
        <a:p>
          <a:pPr algn="l"/>
          <a:endParaRPr lang="en-US" sz="24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a:buClr>
              <a:srgbClr val="FF8134"/>
            </a:buClr>
            <a:buSzTx/>
            <a:buFont typeface="Wingdings" panose="05000000000000000000" pitchFamily="2" charset="2"/>
            <a:buChar char="§"/>
          </a:pPr>
          <a:r>
            <a:rPr kumimoji="0" lang="en-US" sz="2000" b="0" i="0" u="none" strike="noStrike" cap="none" spc="0" normalizeH="0" baseline="0" noProof="0">
              <a:ln>
                <a:noFill/>
              </a:ln>
              <a:solidFill>
                <a:srgbClr val="0D6CB9"/>
              </a:solidFill>
              <a:effectLst/>
              <a:uLnTx/>
              <a:uFillTx/>
              <a:latin typeface="Calibri"/>
              <a:cs typeface="Calibri"/>
            </a:rPr>
            <a:t>If a student is an EB with a disability,</a:t>
          </a:r>
        </a:p>
        <a:p>
          <a:pPr algn="ctr">
            <a:buClr>
              <a:srgbClr val="FF8134"/>
            </a:buClr>
            <a:buSzTx/>
            <a:buFont typeface="Wingdings" panose="05000000000000000000" pitchFamily="2" charset="2"/>
            <a:buChar char="§"/>
          </a:pPr>
          <a:r>
            <a:rPr kumimoji="0" lang="en-US" sz="2000" b="0" i="0" u="none" strike="noStrike" cap="none" spc="0" normalizeH="0" baseline="0" noProof="0">
              <a:ln>
                <a:noFill/>
              </a:ln>
              <a:solidFill>
                <a:srgbClr val="0D6CB9"/>
              </a:solidFill>
              <a:effectLst/>
              <a:uLnTx/>
              <a:uFillTx/>
              <a:latin typeface="Calibri"/>
              <a:cs typeface="Calibri"/>
            </a:rPr>
            <a:t> the decision is made by the ARD committee</a:t>
          </a:r>
        </a:p>
        <a:p>
          <a:pPr algn="ctr">
            <a:buClr>
              <a:srgbClr val="FF8134"/>
            </a:buClr>
            <a:buSzTx/>
            <a:buFont typeface="Wingdings" panose="05000000000000000000" pitchFamily="2" charset="2"/>
            <a:buChar char="§"/>
          </a:pPr>
          <a:r>
            <a:rPr kumimoji="0" lang="en-US" sz="2000" b="0" i="0" u="none" strike="noStrike" cap="none" spc="0" normalizeH="0" baseline="0" noProof="0">
              <a:ln>
                <a:noFill/>
              </a:ln>
              <a:solidFill>
                <a:srgbClr val="0D6CB9"/>
              </a:solidFill>
              <a:effectLst/>
              <a:uLnTx/>
              <a:uFillTx/>
              <a:latin typeface="Calibri"/>
              <a:cs typeface="Calibri"/>
            </a:rPr>
            <a:t> </a:t>
          </a:r>
          <a:r>
            <a:rPr kumimoji="0" lang="en-US" sz="2000" b="1" i="0" u="none" strike="noStrike" cap="none" spc="0" normalizeH="0" baseline="0" noProof="0">
              <a:ln>
                <a:noFill/>
              </a:ln>
              <a:solidFill>
                <a:srgbClr val="0D6CB9"/>
              </a:solidFill>
              <a:effectLst/>
              <a:uLnTx/>
              <a:uFillTx/>
              <a:latin typeface="Calibri"/>
              <a:cs typeface="Calibri"/>
            </a:rPr>
            <a:t>in conjunction </a:t>
          </a:r>
          <a:r>
            <a:rPr kumimoji="0" lang="en-US" sz="2000" b="0" i="0" u="none" strike="noStrike" cap="none" spc="0" normalizeH="0" baseline="0" noProof="0">
              <a:ln>
                <a:noFill/>
              </a:ln>
              <a:solidFill>
                <a:srgbClr val="0D6CB9"/>
              </a:solidFill>
              <a:effectLst/>
              <a:uLnTx/>
              <a:uFillTx/>
              <a:latin typeface="Calibri"/>
              <a:cs typeface="Calibri"/>
            </a:rPr>
            <a:t>with the student’s LPAC.</a:t>
          </a:r>
          <a:endParaRPr lang="en-US" sz="2000">
            <a:solidFill>
              <a:srgbClr val="0D6CB9"/>
            </a:solidFill>
          </a:endParaRPr>
        </a:p>
      </dgm: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pPr>
            <a:buClr>
              <a:srgbClr val="FF8134"/>
            </a:buClr>
            <a:buSzTx/>
            <a:buFont typeface="Wingdings"/>
            <a:buChar char="§"/>
          </a:pPr>
          <a:r>
            <a:rPr kumimoji="0" lang="en-US" sz="2000" b="0" i="0" u="none" strike="noStrike" cap="none" spc="0" normalizeH="0" baseline="0" noProof="0">
              <a:ln>
                <a:noFill/>
              </a:ln>
              <a:solidFill>
                <a:srgbClr val="0D6CB9"/>
              </a:solidFill>
              <a:effectLst/>
              <a:uLnTx/>
              <a:uFillTx/>
              <a:latin typeface="Calibri"/>
              <a:cs typeface="Calibri"/>
            </a:rPr>
            <a:t>For questions about the functions allowed available on a “basic” calculator, refer to the calculator tool</a:t>
          </a:r>
        </a:p>
        <a:p>
          <a:pPr>
            <a:buClr>
              <a:srgbClr val="FF8134"/>
            </a:buClr>
            <a:buSzTx/>
            <a:buFont typeface="Wingdings"/>
            <a:buChar char="§"/>
          </a:pPr>
          <a:r>
            <a:rPr kumimoji="0" lang="en-US" sz="2000" b="0" i="0" u="none" strike="noStrike" cap="none" spc="0" normalizeH="0" baseline="0" noProof="0">
              <a:ln>
                <a:noFill/>
              </a:ln>
              <a:solidFill>
                <a:srgbClr val="0D6CB9"/>
              </a:solidFill>
              <a:effectLst/>
              <a:uLnTx/>
              <a:uFillTx/>
              <a:latin typeface="Calibri"/>
              <a:cs typeface="Calibri"/>
            </a:rPr>
            <a:t> in the online STAAR practice tests.</a:t>
          </a:r>
          <a:endParaRPr lang="en-US" sz="2000">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dgm:spPr>
        <a:solidFill>
          <a:schemeClr val="bg1"/>
        </a:solidFill>
        <a:ln>
          <a:solidFill>
            <a:srgbClr val="F16038"/>
          </a:solidFill>
        </a:ln>
      </dgm:spPr>
      <dgm:t>
        <a:bodyPr/>
        <a:lstStyle/>
        <a:p>
          <a:pPr>
            <a:buClr>
              <a:srgbClr val="FF8134"/>
            </a:buClr>
            <a:buSzTx/>
            <a:buFont typeface="Wingdings"/>
            <a:buChar char="§"/>
          </a:pPr>
          <a:r>
            <a:rPr kumimoji="0" lang="en-US" b="0" i="0" u="none" strike="noStrike" cap="none" spc="0" normalizeH="0" baseline="0" noProof="0">
              <a:ln>
                <a:noFill/>
              </a:ln>
              <a:solidFill>
                <a:srgbClr val="0D6CB9"/>
              </a:solidFill>
              <a:effectLst/>
              <a:uLnTx/>
              <a:uFillTx/>
              <a:latin typeface="Calibri"/>
              <a:cs typeface="Calibri"/>
            </a:rPr>
            <a:t>Grade-specific eligibility must be met for a student who receives Section 504 or special education services and routinely and effectively uses the support in classroom instruction and testing.</a:t>
          </a:r>
          <a:endParaRPr lang="en-US">
            <a:solidFill>
              <a:srgbClr val="0D6CB9"/>
            </a:solidFill>
          </a:endParaRP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custT="1"/>
      <dgm:spPr>
        <a:solidFill>
          <a:schemeClr val="bg1"/>
        </a:solidFill>
        <a:ln>
          <a:solidFill>
            <a:srgbClr val="F16038"/>
          </a:solidFill>
        </a:ln>
      </dgm:spPr>
      <dgm:t>
        <a:bodyPr/>
        <a:lstStyle/>
        <a:p>
          <a:pPr>
            <a:buClr>
              <a:srgbClr val="F16038"/>
            </a:buClr>
            <a:buFont typeface="Wingdings" panose="05000000000000000000" pitchFamily="2" charset="2"/>
            <a:buChar char="§"/>
          </a:pPr>
          <a:r>
            <a:rPr lang="en-US" sz="2000">
              <a:solidFill>
                <a:srgbClr val="0D6CB9"/>
              </a:solidFill>
            </a:rPr>
            <a:t>The four-function calculator will remain available for students that meet eligibility in grades 3–7 to use a calculation device.​</a:t>
          </a:r>
          <a:endParaRPr lang="en-US" sz="2000">
            <a:solidFill>
              <a:srgbClr val="0D6CB9"/>
            </a:solidFill>
            <a:cs typeface="Calibri"/>
          </a:endParaRPr>
        </a:p>
        <a:p>
          <a:pPr>
            <a:buClr>
              <a:srgbClr val="F16038"/>
            </a:buClr>
            <a:buFont typeface="Wingdings" panose="05000000000000000000" pitchFamily="2" charset="2"/>
            <a:buChar char="§"/>
          </a:pPr>
          <a:endParaRPr lang="en-US" sz="2000">
            <a:solidFill>
              <a:srgbClr val="0D6CB9"/>
            </a:solidFill>
          </a:endParaRP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1" presStyleCnt="2">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Calculation</a:t>
          </a:r>
          <a:r>
            <a:rPr lang="en-US" sz="2400" b="1" baseline="0"/>
            <a:t> Aids </a:t>
          </a:r>
          <a:r>
            <a:rPr lang="en-US" sz="2000" b="0" baseline="0"/>
            <a:t>(continued):</a:t>
          </a:r>
          <a:endParaRPr lang="en-US" sz="24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a:buClr>
              <a:srgbClr val="FF8134"/>
            </a:buClr>
            <a:buSzTx/>
            <a:buFont typeface="Wingdings" panose="05000000000000000000" pitchFamily="2" charset="2"/>
            <a:buChar char="§"/>
          </a:pPr>
          <a:r>
            <a:rPr kumimoji="0" lang="en-US" sz="2400" b="1" i="0" u="none" strike="noStrike" cap="none" spc="0" normalizeH="0" baseline="0" noProof="0">
              <a:ln>
                <a:noFill/>
              </a:ln>
              <a:solidFill>
                <a:srgbClr val="0D6CB9"/>
              </a:solidFill>
              <a:effectLst/>
              <a:uLnTx/>
              <a:uFillTx/>
              <a:latin typeface="Calibri"/>
              <a:cs typeface="Calibri"/>
            </a:rPr>
            <a:t>Allowable Examples/Types</a:t>
          </a:r>
          <a:endParaRPr lang="en-US" sz="2400" b="1">
            <a:solidFill>
              <a:srgbClr val="0D6CB9"/>
            </a:solidFill>
          </a:endParaRPr>
        </a:p>
      </dgm: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CEE031F7-1998-40D7-AEAE-27FDE0B03A06}">
      <dgm:prSet/>
      <dgm:spPr>
        <a:solidFill>
          <a:schemeClr val="bg1"/>
        </a:solidFill>
        <a:ln>
          <a:solidFill>
            <a:srgbClr val="FF3300"/>
          </a:solidFill>
        </a:ln>
      </dgm:spPr>
      <dgm:t>
        <a:bodyPr/>
        <a:lstStyle/>
        <a:p>
          <a:pPr algn="ctr">
            <a:buClr>
              <a:srgbClr val="FF8134"/>
            </a:buClr>
            <a:buSzTx/>
            <a:buFont typeface="Wingdings" panose="05000000000000000000" pitchFamily="2" charset="2"/>
            <a:buChar char="§"/>
          </a:pPr>
          <a:r>
            <a:rPr kumimoji="0" lang="en-US" b="0" i="0" u="none" strike="noStrike" cap="none" spc="0" normalizeH="0" baseline="0" noProof="0">
              <a:ln>
                <a:noFill/>
              </a:ln>
              <a:solidFill>
                <a:srgbClr val="0D6CB9"/>
              </a:solidFill>
              <a:effectLst/>
              <a:uLnTx/>
              <a:uFillTx/>
              <a:latin typeface="Calibri"/>
              <a:cs typeface="Calibri"/>
            </a:rPr>
            <a:t>Basic (i.e., four-function) handheld calculator or calculator application, including large-key or speech-output</a:t>
          </a:r>
          <a:endParaRPr lang="en-US" b="0" i="0" u="none" strike="noStrike" cap="none" spc="0" normalizeH="0" baseline="0" noProof="0">
            <a:ln>
              <a:noFill/>
            </a:ln>
            <a:solidFill>
              <a:srgbClr val="0D6CB9"/>
            </a:solidFill>
            <a:effectLst/>
            <a:uLnTx/>
            <a:uFillTx/>
            <a:latin typeface="Calibri"/>
            <a:cs typeface="Calibri"/>
          </a:endParaRPr>
        </a:p>
      </dgm:t>
    </dgm:pt>
    <dgm:pt modelId="{4AB0229F-AEEA-4635-8CD8-CE055D81AB53}" type="parTrans" cxnId="{AC86C203-1D76-4C6E-AD99-DB8CF3CC7115}">
      <dgm:prSet/>
      <dgm:spPr/>
      <dgm:t>
        <a:bodyPr/>
        <a:lstStyle/>
        <a:p>
          <a:endParaRPr lang="en-US"/>
        </a:p>
      </dgm:t>
    </dgm:pt>
    <dgm:pt modelId="{A5B0B87C-618E-4686-91DE-D9F3A371900E}" type="sibTrans" cxnId="{AC86C203-1D76-4C6E-AD99-DB8CF3CC7115}">
      <dgm:prSet/>
      <dgm:spPr/>
      <dgm:t>
        <a:bodyPr/>
        <a:lstStyle/>
        <a:p>
          <a:endParaRPr lang="en-US"/>
        </a:p>
      </dgm:t>
    </dgm:pt>
    <dgm:pt modelId="{46E043AA-5068-4B0B-A725-D68A1CD9E222}">
      <dgm:prSet/>
      <dgm:spPr>
        <a:solidFill>
          <a:schemeClr val="bg1"/>
        </a:solidFill>
        <a:ln>
          <a:solidFill>
            <a:srgbClr val="FF3300"/>
          </a:solidFill>
        </a:ln>
      </dgm:spPr>
      <dgm:t>
        <a:bodyPr/>
        <a:lstStyle/>
        <a:p>
          <a:pPr algn="ctr">
            <a:buClr>
              <a:srgbClr val="FF8134"/>
            </a:buClr>
            <a:buSzTx/>
            <a:buFont typeface="Wingdings" panose="05000000000000000000" pitchFamily="2" charset="2"/>
            <a:buChar char="§"/>
          </a:pPr>
          <a:r>
            <a:rPr kumimoji="0" lang="en-US" b="0" i="0" u="none" strike="noStrike" cap="none" spc="0" normalizeH="0" baseline="0" noProof="0">
              <a:ln>
                <a:noFill/>
              </a:ln>
              <a:solidFill>
                <a:srgbClr val="0D6CB9"/>
              </a:solidFill>
              <a:effectLst/>
              <a:uLnTx/>
              <a:uFillTx/>
              <a:latin typeface="Calibri"/>
              <a:cs typeface="Calibri"/>
            </a:rPr>
            <a:t>Basic calculator available as an online embedded support on STAAR</a:t>
          </a:r>
          <a:endParaRPr lang="en-US" b="0" i="0" u="none" strike="noStrike" cap="none" spc="0" normalizeH="0" baseline="0" noProof="0">
            <a:ln>
              <a:noFill/>
            </a:ln>
            <a:solidFill>
              <a:srgbClr val="0D6CB9"/>
            </a:solidFill>
            <a:effectLst/>
            <a:uLnTx/>
            <a:uFillTx/>
            <a:latin typeface="Calibri"/>
            <a:cs typeface="Calibri"/>
          </a:endParaRPr>
        </a:p>
      </dgm:t>
    </dgm:pt>
    <dgm:pt modelId="{75A59C71-A00B-4ABE-92EC-58A9C1B85549}" type="parTrans" cxnId="{6EBA36D4-9F80-4F1C-B464-30EE0FF7F582}">
      <dgm:prSet/>
      <dgm:spPr/>
      <dgm:t>
        <a:bodyPr/>
        <a:lstStyle/>
        <a:p>
          <a:endParaRPr lang="en-US"/>
        </a:p>
      </dgm:t>
    </dgm:pt>
    <dgm:pt modelId="{95D97439-0250-4CE8-9B86-F98FEE8FE5F2}" type="sibTrans" cxnId="{6EBA36D4-9F80-4F1C-B464-30EE0FF7F582}">
      <dgm:prSet/>
      <dgm:spPr/>
      <dgm:t>
        <a:bodyPr/>
        <a:lstStyle/>
        <a:p>
          <a:endParaRPr lang="en-US"/>
        </a:p>
      </dgm:t>
    </dgm:pt>
    <dgm:pt modelId="{92E59A8E-798C-416A-9A5E-C39D06A5E707}">
      <dgm:prSet/>
      <dgm:spPr>
        <a:solidFill>
          <a:schemeClr val="bg1"/>
        </a:solidFill>
        <a:ln>
          <a:solidFill>
            <a:srgbClr val="FF3300"/>
          </a:solidFill>
        </a:ln>
      </dgm:spPr>
      <dgm:t>
        <a:bodyPr/>
        <a:lstStyle/>
        <a:p>
          <a:pPr algn="ctr">
            <a:buClr>
              <a:srgbClr val="FF8134"/>
            </a:buClr>
            <a:buSzTx/>
            <a:buFont typeface="Wingdings" panose="05000000000000000000" pitchFamily="2" charset="2"/>
            <a:buChar char="§"/>
          </a:pPr>
          <a:r>
            <a:rPr kumimoji="0" lang="en-US" b="0" i="0" u="none" strike="noStrike" cap="none" spc="0" normalizeH="0" baseline="0" noProof="0">
              <a:ln>
                <a:noFill/>
              </a:ln>
              <a:solidFill>
                <a:srgbClr val="0D6CB9"/>
              </a:solidFill>
              <a:effectLst/>
              <a:uLnTx/>
              <a:uFillTx/>
              <a:latin typeface="Calibri"/>
              <a:cs typeface="Calibri"/>
            </a:rPr>
            <a:t>Abacus or Cranmer modified abacus</a:t>
          </a:r>
          <a:endParaRPr lang="en-US" b="0" i="0" u="none" strike="noStrike" cap="none" spc="0" normalizeH="0" baseline="0" noProof="0">
            <a:ln>
              <a:noFill/>
            </a:ln>
            <a:solidFill>
              <a:srgbClr val="0D6CB9"/>
            </a:solidFill>
            <a:effectLst/>
            <a:uLnTx/>
            <a:uFillTx/>
            <a:latin typeface="Calibri"/>
            <a:cs typeface="Calibri"/>
          </a:endParaRPr>
        </a:p>
      </dgm:t>
    </dgm:pt>
    <dgm:pt modelId="{F9606564-37C6-4035-B297-66E349699818}" type="parTrans" cxnId="{262C81C9-4C16-4A63-BDDD-6D6EB59437CD}">
      <dgm:prSet/>
      <dgm:spPr/>
      <dgm:t>
        <a:bodyPr/>
        <a:lstStyle/>
        <a:p>
          <a:endParaRPr lang="en-US"/>
        </a:p>
      </dgm:t>
    </dgm:pt>
    <dgm:pt modelId="{BDC33F62-5326-4A69-ACD5-9CA472477B06}" type="sibTrans" cxnId="{262C81C9-4C16-4A63-BDDD-6D6EB59437CD}">
      <dgm:prSet/>
      <dgm:spPr/>
      <dgm:t>
        <a:bodyPr/>
        <a:lstStyle/>
        <a:p>
          <a:endParaRPr lang="en-US"/>
        </a:p>
      </dgm:t>
    </dgm:pt>
    <dgm:pt modelId="{2989ADFF-7082-44B6-9CA6-DB063C963C55}">
      <dgm:prSet/>
      <dgm:spPr>
        <a:solidFill>
          <a:schemeClr val="bg1"/>
        </a:solidFill>
        <a:ln>
          <a:solidFill>
            <a:srgbClr val="FF3300"/>
          </a:solidFill>
        </a:ln>
      </dgm:spPr>
      <dgm:t>
        <a:bodyPr/>
        <a:lstStyle/>
        <a:p>
          <a:pPr algn="ctr">
            <a:buClr>
              <a:srgbClr val="FF8134"/>
            </a:buClr>
            <a:buSzTx/>
            <a:buFont typeface="Wingdings" panose="05000000000000000000" pitchFamily="2" charset="2"/>
            <a:buChar char="§"/>
          </a:pPr>
          <a:r>
            <a:rPr lang="en-US">
              <a:solidFill>
                <a:srgbClr val="0D6CB9"/>
              </a:solidFill>
              <a:latin typeface="Calibri"/>
              <a:cs typeface="Calibri"/>
            </a:rPr>
            <a:t>0–9</a:t>
          </a:r>
          <a:r>
            <a:rPr kumimoji="0" lang="en-US" b="0" i="0" u="none" strike="noStrike" cap="none" spc="0" normalizeH="0" baseline="0" noProof="0">
              <a:ln>
                <a:noFill/>
              </a:ln>
              <a:solidFill>
                <a:srgbClr val="0D6CB9"/>
              </a:solidFill>
              <a:effectLst/>
              <a:uLnTx/>
              <a:uFillTx/>
              <a:latin typeface="Calibri"/>
              <a:cs typeface="Calibri"/>
            </a:rPr>
            <a:t> addition grid without special number (e.g., even numbers) indicated</a:t>
          </a:r>
          <a:endParaRPr lang="en-US" b="0" i="0" u="none" strike="noStrike" cap="none" spc="0" normalizeH="0" baseline="0" noProof="0">
            <a:ln>
              <a:noFill/>
            </a:ln>
            <a:solidFill>
              <a:srgbClr val="0D6CB9"/>
            </a:solidFill>
            <a:effectLst/>
            <a:uLnTx/>
            <a:uFillTx/>
            <a:latin typeface="Calibri"/>
            <a:cs typeface="Calibri"/>
          </a:endParaRPr>
        </a:p>
      </dgm:t>
    </dgm:pt>
    <dgm:pt modelId="{00374562-99D0-4186-96AB-6AAD5C08E7D0}" type="parTrans" cxnId="{A398E37A-C763-42C2-9C54-E7AD9E14FC61}">
      <dgm:prSet/>
      <dgm:spPr/>
      <dgm:t>
        <a:bodyPr/>
        <a:lstStyle/>
        <a:p>
          <a:endParaRPr lang="en-US"/>
        </a:p>
      </dgm:t>
    </dgm:pt>
    <dgm:pt modelId="{C5A5902C-3222-4F69-A24B-44714602E89C}" type="sibTrans" cxnId="{A398E37A-C763-42C2-9C54-E7AD9E14FC61}">
      <dgm:prSet/>
      <dgm:spPr/>
      <dgm:t>
        <a:bodyPr/>
        <a:lstStyle/>
        <a:p>
          <a:endParaRPr lang="en-US"/>
        </a:p>
      </dgm:t>
    </dgm:pt>
    <dgm:pt modelId="{A4831070-0921-4E66-86E6-D53230029EC2}">
      <dgm:prSet/>
      <dgm:spPr>
        <a:solidFill>
          <a:schemeClr val="bg1"/>
        </a:solidFill>
        <a:ln>
          <a:solidFill>
            <a:srgbClr val="FF3300"/>
          </a:solidFill>
        </a:ln>
      </dgm:spPr>
      <dgm:t>
        <a:bodyPr/>
        <a:lstStyle/>
        <a:p>
          <a:pPr algn="ctr">
            <a:buClr>
              <a:srgbClr val="FF8134"/>
            </a:buClr>
            <a:buSzTx/>
            <a:buFont typeface="Wingdings" panose="05000000000000000000" pitchFamily="2" charset="2"/>
            <a:buChar char="§"/>
          </a:pPr>
          <a:r>
            <a:rPr kumimoji="0" lang="en-US" b="0" i="0" u="none" strike="noStrike" cap="none" spc="0" normalizeH="0" baseline="0" noProof="0">
              <a:ln>
                <a:noFill/>
              </a:ln>
              <a:solidFill>
                <a:srgbClr val="0D6CB9"/>
              </a:solidFill>
              <a:effectLst/>
              <a:uLnTx/>
              <a:uFillTx/>
              <a:latin typeface="Calibri"/>
              <a:cs typeface="Calibri"/>
            </a:rPr>
            <a:t>Grade-appropriate multiplication grid without special numbers (e.g., perfect squares) indicated</a:t>
          </a:r>
          <a:endParaRPr lang="en-US" b="0" i="0" u="none" strike="noStrike" cap="none" spc="0" normalizeH="0" baseline="0" noProof="0">
            <a:ln>
              <a:noFill/>
            </a:ln>
            <a:solidFill>
              <a:srgbClr val="0D6CB9"/>
            </a:solidFill>
            <a:effectLst/>
            <a:uLnTx/>
            <a:uFillTx/>
            <a:latin typeface="Calibri"/>
            <a:cs typeface="Calibri"/>
          </a:endParaRPr>
        </a:p>
      </dgm:t>
    </dgm:pt>
    <dgm:pt modelId="{841F4514-F7BA-4771-8983-8C0979402F05}" type="parTrans" cxnId="{68E23706-6B5A-4CC8-898A-AECAA73D0D30}">
      <dgm:prSet/>
      <dgm:spPr/>
      <dgm:t>
        <a:bodyPr/>
        <a:lstStyle/>
        <a:p>
          <a:endParaRPr lang="en-US"/>
        </a:p>
      </dgm:t>
    </dgm:pt>
    <dgm:pt modelId="{DD4457E1-B86D-446A-92E8-B581A183FD63}" type="sibTrans" cxnId="{68E23706-6B5A-4CC8-898A-AECAA73D0D30}">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36512"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1" custScaleY="20583" custLinFactNeighborY="-79601">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654E229B-A8E0-417F-8C52-19BFA1CF4A6E}" type="pres">
      <dgm:prSet presAssocID="{CEE031F7-1998-40D7-AEAE-27FDE0B03A06}" presName="vertThree" presStyleCnt="0"/>
      <dgm:spPr/>
    </dgm:pt>
    <dgm:pt modelId="{C2402F4C-CBC6-48BD-B6D3-98F66CC6DA27}" type="pres">
      <dgm:prSet presAssocID="{CEE031F7-1998-40D7-AEAE-27FDE0B03A06}" presName="txThree" presStyleLbl="node3" presStyleIdx="0" presStyleCnt="5">
        <dgm:presLayoutVars>
          <dgm:chPref val="3"/>
        </dgm:presLayoutVars>
      </dgm:prSet>
      <dgm:spPr/>
    </dgm:pt>
    <dgm:pt modelId="{E9A464B9-A156-43F3-93D9-E54AD9BD5B9C}" type="pres">
      <dgm:prSet presAssocID="{CEE031F7-1998-40D7-AEAE-27FDE0B03A06}" presName="horzThree" presStyleCnt="0"/>
      <dgm:spPr/>
    </dgm:pt>
    <dgm:pt modelId="{F54297E9-1CE9-4BF7-B6A1-81C2F31D7A12}" type="pres">
      <dgm:prSet presAssocID="{A5B0B87C-618E-4686-91DE-D9F3A371900E}" presName="sibSpaceThree" presStyleCnt="0"/>
      <dgm:spPr/>
    </dgm:pt>
    <dgm:pt modelId="{3FBEC230-4287-4B87-A84A-29FFBD665B06}" type="pres">
      <dgm:prSet presAssocID="{46E043AA-5068-4B0B-A725-D68A1CD9E222}" presName="vertThree" presStyleCnt="0"/>
      <dgm:spPr/>
    </dgm:pt>
    <dgm:pt modelId="{07D57577-A6E0-4018-9FC7-FDA9C2611774}" type="pres">
      <dgm:prSet presAssocID="{46E043AA-5068-4B0B-A725-D68A1CD9E222}" presName="txThree" presStyleLbl="node3" presStyleIdx="1" presStyleCnt="5">
        <dgm:presLayoutVars>
          <dgm:chPref val="3"/>
        </dgm:presLayoutVars>
      </dgm:prSet>
      <dgm:spPr/>
    </dgm:pt>
    <dgm:pt modelId="{EA23EE71-F435-47A6-B384-7AADE6B2B6E8}" type="pres">
      <dgm:prSet presAssocID="{46E043AA-5068-4B0B-A725-D68A1CD9E222}" presName="horzThree" presStyleCnt="0"/>
      <dgm:spPr/>
    </dgm:pt>
    <dgm:pt modelId="{75A8AE42-6D2A-4EF4-B23F-4199EFE0A712}" type="pres">
      <dgm:prSet presAssocID="{95D97439-0250-4CE8-9B86-F98FEE8FE5F2}" presName="sibSpaceThree" presStyleCnt="0"/>
      <dgm:spPr/>
    </dgm:pt>
    <dgm:pt modelId="{C14B5540-2009-4AB7-A427-465C09287F5D}" type="pres">
      <dgm:prSet presAssocID="{92E59A8E-798C-416A-9A5E-C39D06A5E707}" presName="vertThree" presStyleCnt="0"/>
      <dgm:spPr/>
    </dgm:pt>
    <dgm:pt modelId="{52AAFDB0-AF7A-4188-BD92-4DD2F6C32D14}" type="pres">
      <dgm:prSet presAssocID="{92E59A8E-798C-416A-9A5E-C39D06A5E707}" presName="txThree" presStyleLbl="node3" presStyleIdx="2" presStyleCnt="5">
        <dgm:presLayoutVars>
          <dgm:chPref val="3"/>
        </dgm:presLayoutVars>
      </dgm:prSet>
      <dgm:spPr/>
    </dgm:pt>
    <dgm:pt modelId="{25367C14-7EFD-4A56-B7A6-BEA51171E829}" type="pres">
      <dgm:prSet presAssocID="{92E59A8E-798C-416A-9A5E-C39D06A5E707}" presName="horzThree" presStyleCnt="0"/>
      <dgm:spPr/>
    </dgm:pt>
    <dgm:pt modelId="{A7B3C4B6-4D71-4379-82EE-7DA755210B32}" type="pres">
      <dgm:prSet presAssocID="{BDC33F62-5326-4A69-ACD5-9CA472477B06}" presName="sibSpaceThree" presStyleCnt="0"/>
      <dgm:spPr/>
    </dgm:pt>
    <dgm:pt modelId="{DD071865-FB4B-4A98-B2A4-3852BD1C8B61}" type="pres">
      <dgm:prSet presAssocID="{2989ADFF-7082-44B6-9CA6-DB063C963C55}" presName="vertThree" presStyleCnt="0"/>
      <dgm:spPr/>
    </dgm:pt>
    <dgm:pt modelId="{65E4BF4B-76BF-4282-88DD-9118A6C67E4F}" type="pres">
      <dgm:prSet presAssocID="{2989ADFF-7082-44B6-9CA6-DB063C963C55}" presName="txThree" presStyleLbl="node3" presStyleIdx="3" presStyleCnt="5">
        <dgm:presLayoutVars>
          <dgm:chPref val="3"/>
        </dgm:presLayoutVars>
      </dgm:prSet>
      <dgm:spPr/>
    </dgm:pt>
    <dgm:pt modelId="{56EC6ED2-D05B-46FF-BE2D-D21037805AD3}" type="pres">
      <dgm:prSet presAssocID="{2989ADFF-7082-44B6-9CA6-DB063C963C55}" presName="horzThree" presStyleCnt="0"/>
      <dgm:spPr/>
    </dgm:pt>
    <dgm:pt modelId="{F85A5702-E9DF-48A1-916D-6783451A8635}" type="pres">
      <dgm:prSet presAssocID="{C5A5902C-3222-4F69-A24B-44714602E89C}" presName="sibSpaceThree" presStyleCnt="0"/>
      <dgm:spPr/>
    </dgm:pt>
    <dgm:pt modelId="{CCC812D4-A66E-4AD1-ABA1-694C06C9734A}" type="pres">
      <dgm:prSet presAssocID="{A4831070-0921-4E66-86E6-D53230029EC2}" presName="vertThree" presStyleCnt="0"/>
      <dgm:spPr/>
    </dgm:pt>
    <dgm:pt modelId="{4A5E891C-D5BE-4F1A-9050-B5544DB27820}" type="pres">
      <dgm:prSet presAssocID="{A4831070-0921-4E66-86E6-D53230029EC2}" presName="txThree" presStyleLbl="node3" presStyleIdx="4" presStyleCnt="5">
        <dgm:presLayoutVars>
          <dgm:chPref val="3"/>
        </dgm:presLayoutVars>
      </dgm:prSet>
      <dgm:spPr/>
    </dgm:pt>
    <dgm:pt modelId="{DEDCCBB6-0F2B-464B-94F0-23B1E4C0CC04}" type="pres">
      <dgm:prSet presAssocID="{A4831070-0921-4E66-86E6-D53230029EC2}" presName="horzThree" presStyleCnt="0"/>
      <dgm:spPr/>
    </dgm:pt>
  </dgm:ptLst>
  <dgm:cxnLst>
    <dgm:cxn modelId="{AC86C203-1D76-4C6E-AD99-DB8CF3CC7115}" srcId="{E4D1BD34-AB22-431C-8FF4-D1B722B1EBA9}" destId="{CEE031F7-1998-40D7-AEAE-27FDE0B03A06}" srcOrd="0" destOrd="0" parTransId="{4AB0229F-AEEA-4635-8CD8-CE055D81AB53}" sibTransId="{A5B0B87C-618E-4686-91DE-D9F3A371900E}"/>
    <dgm:cxn modelId="{68E23706-6B5A-4CC8-898A-AECAA73D0D30}" srcId="{E4D1BD34-AB22-431C-8FF4-D1B722B1EBA9}" destId="{A4831070-0921-4E66-86E6-D53230029EC2}" srcOrd="4" destOrd="0" parTransId="{841F4514-F7BA-4771-8983-8C0979402F05}" sibTransId="{DD4457E1-B86D-446A-92E8-B581A183FD63}"/>
    <dgm:cxn modelId="{477D8816-E6B6-482D-AD3A-D765D2FA96D0}" type="presOf" srcId="{5C208612-5DE7-40FD-AB85-24F5FEE384E8}" destId="{5C2742FE-7329-4DDC-BC71-07253AC9681B}" srcOrd="0" destOrd="0" presId="urn:microsoft.com/office/officeart/2005/8/layout/hierarchy4"/>
    <dgm:cxn modelId="{F5F4641F-0946-40EE-97A7-11533FC15EEC}" type="presOf" srcId="{CEE031F7-1998-40D7-AEAE-27FDE0B03A06}" destId="{C2402F4C-CBC6-48BD-B6D3-98F66CC6DA27}" srcOrd="0" destOrd="0" presId="urn:microsoft.com/office/officeart/2005/8/layout/hierarchy4"/>
    <dgm:cxn modelId="{36694067-FCC0-49AD-8427-2E9CA97A41F0}" type="presOf" srcId="{2989ADFF-7082-44B6-9CA6-DB063C963C55}" destId="{65E4BF4B-76BF-4282-88DD-9118A6C67E4F}" srcOrd="0" destOrd="0" presId="urn:microsoft.com/office/officeart/2005/8/layout/hierarchy4"/>
    <dgm:cxn modelId="{A398E37A-C763-42C2-9C54-E7AD9E14FC61}" srcId="{E4D1BD34-AB22-431C-8FF4-D1B722B1EBA9}" destId="{2989ADFF-7082-44B6-9CA6-DB063C963C55}" srcOrd="3" destOrd="0" parTransId="{00374562-99D0-4186-96AB-6AAD5C08E7D0}" sibTransId="{C5A5902C-3222-4F69-A24B-44714602E89C}"/>
    <dgm:cxn modelId="{2265DB7B-9B3E-44E9-BD25-C8AB7BAAE205}" type="presOf" srcId="{A4831070-0921-4E66-86E6-D53230029EC2}" destId="{4A5E891C-D5BE-4F1A-9050-B5544DB27820}" srcOrd="0" destOrd="0" presId="urn:microsoft.com/office/officeart/2005/8/layout/hierarchy4"/>
    <dgm:cxn modelId="{8525CE99-8B7A-42AD-B98D-40CD5A6BD29D}" srcId="{5C208612-5DE7-40FD-AB85-24F5FEE384E8}" destId="{E4D1BD34-AB22-431C-8FF4-D1B722B1EBA9}" srcOrd="0" destOrd="0" parTransId="{DD9370DF-338E-4433-B01F-4FAB787800FC}" sibTransId="{9EC22442-CDEE-4A74-B620-99A6314C5829}"/>
    <dgm:cxn modelId="{90692BA8-1B0F-46D8-B9B2-D609C87A23D6}" type="presOf" srcId="{46E043AA-5068-4B0B-A725-D68A1CD9E222}" destId="{07D57577-A6E0-4018-9FC7-FDA9C2611774}" srcOrd="0" destOrd="0" presId="urn:microsoft.com/office/officeart/2005/8/layout/hierarchy4"/>
    <dgm:cxn modelId="{262C81C9-4C16-4A63-BDDD-6D6EB59437CD}" srcId="{E4D1BD34-AB22-431C-8FF4-D1B722B1EBA9}" destId="{92E59A8E-798C-416A-9A5E-C39D06A5E707}" srcOrd="2" destOrd="0" parTransId="{F9606564-37C6-4035-B297-66E349699818}" sibTransId="{BDC33F62-5326-4A69-ACD5-9CA472477B06}"/>
    <dgm:cxn modelId="{34EFD0C9-4A91-4FFC-A03D-28725A2A0DAF}" srcId="{29640B64-F787-42C6-896F-579E7EF0E3E7}" destId="{5C208612-5DE7-40FD-AB85-24F5FEE384E8}" srcOrd="0" destOrd="0" parTransId="{6278E673-ADC2-445E-B057-6514962C10BE}" sibTransId="{F8CBE19A-72DB-4FCA-88ED-475F831E94BC}"/>
    <dgm:cxn modelId="{BF8079CA-51F8-4A42-A3D1-3D8A55A697B3}" type="presOf" srcId="{92E59A8E-798C-416A-9A5E-C39D06A5E707}" destId="{52AAFDB0-AF7A-4188-BD92-4DD2F6C32D14}" srcOrd="0" destOrd="0" presId="urn:microsoft.com/office/officeart/2005/8/layout/hierarchy4"/>
    <dgm:cxn modelId="{6EBA36D4-9F80-4F1C-B464-30EE0FF7F582}" srcId="{E4D1BD34-AB22-431C-8FF4-D1B722B1EBA9}" destId="{46E043AA-5068-4B0B-A725-D68A1CD9E222}" srcOrd="1" destOrd="0" parTransId="{75A59C71-A00B-4ABE-92EC-58A9C1B85549}" sibTransId="{95D97439-0250-4CE8-9B86-F98FEE8FE5F2}"/>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C1F62594-BF26-476A-AF69-375A12FBE76F}" type="presParOf" srcId="{8904DE32-5DE2-4A56-9909-DDB28CE184CC}" destId="{654E229B-A8E0-417F-8C52-19BFA1CF4A6E}" srcOrd="0" destOrd="0" presId="urn:microsoft.com/office/officeart/2005/8/layout/hierarchy4"/>
    <dgm:cxn modelId="{AF67D850-988C-4B78-AC79-78674D46D2D2}" type="presParOf" srcId="{654E229B-A8E0-417F-8C52-19BFA1CF4A6E}" destId="{C2402F4C-CBC6-48BD-B6D3-98F66CC6DA27}" srcOrd="0" destOrd="0" presId="urn:microsoft.com/office/officeart/2005/8/layout/hierarchy4"/>
    <dgm:cxn modelId="{4FB09A2B-C147-4CEE-8827-244758661F4F}" type="presParOf" srcId="{654E229B-A8E0-417F-8C52-19BFA1CF4A6E}" destId="{E9A464B9-A156-43F3-93D9-E54AD9BD5B9C}" srcOrd="1" destOrd="0" presId="urn:microsoft.com/office/officeart/2005/8/layout/hierarchy4"/>
    <dgm:cxn modelId="{C3803C23-501A-450D-B4BD-AC5B2126EEEF}" type="presParOf" srcId="{8904DE32-5DE2-4A56-9909-DDB28CE184CC}" destId="{F54297E9-1CE9-4BF7-B6A1-81C2F31D7A12}" srcOrd="1" destOrd="0" presId="urn:microsoft.com/office/officeart/2005/8/layout/hierarchy4"/>
    <dgm:cxn modelId="{19898904-8FF1-4B09-AF45-9F943B8D4595}" type="presParOf" srcId="{8904DE32-5DE2-4A56-9909-DDB28CE184CC}" destId="{3FBEC230-4287-4B87-A84A-29FFBD665B06}" srcOrd="2" destOrd="0" presId="urn:microsoft.com/office/officeart/2005/8/layout/hierarchy4"/>
    <dgm:cxn modelId="{0A1F7868-A20A-4814-95EF-8C9516775C52}" type="presParOf" srcId="{3FBEC230-4287-4B87-A84A-29FFBD665B06}" destId="{07D57577-A6E0-4018-9FC7-FDA9C2611774}" srcOrd="0" destOrd="0" presId="urn:microsoft.com/office/officeart/2005/8/layout/hierarchy4"/>
    <dgm:cxn modelId="{8D50D1C8-3C0C-43ED-AD2A-983DA1CDC2AC}" type="presParOf" srcId="{3FBEC230-4287-4B87-A84A-29FFBD665B06}" destId="{EA23EE71-F435-47A6-B384-7AADE6B2B6E8}" srcOrd="1" destOrd="0" presId="urn:microsoft.com/office/officeart/2005/8/layout/hierarchy4"/>
    <dgm:cxn modelId="{D9F27751-BFD9-43EE-BD98-2F61E1D10971}" type="presParOf" srcId="{8904DE32-5DE2-4A56-9909-DDB28CE184CC}" destId="{75A8AE42-6D2A-4EF4-B23F-4199EFE0A712}" srcOrd="3" destOrd="0" presId="urn:microsoft.com/office/officeart/2005/8/layout/hierarchy4"/>
    <dgm:cxn modelId="{FF15F2A1-AE66-45BB-A904-AA63AA18027E}" type="presParOf" srcId="{8904DE32-5DE2-4A56-9909-DDB28CE184CC}" destId="{C14B5540-2009-4AB7-A427-465C09287F5D}" srcOrd="4" destOrd="0" presId="urn:microsoft.com/office/officeart/2005/8/layout/hierarchy4"/>
    <dgm:cxn modelId="{3D2F9BF8-6D53-4BE4-9F6F-8FF4974AD0E7}" type="presParOf" srcId="{C14B5540-2009-4AB7-A427-465C09287F5D}" destId="{52AAFDB0-AF7A-4188-BD92-4DD2F6C32D14}" srcOrd="0" destOrd="0" presId="urn:microsoft.com/office/officeart/2005/8/layout/hierarchy4"/>
    <dgm:cxn modelId="{519F8B2E-AC50-46A6-94F0-D8B729A48D70}" type="presParOf" srcId="{C14B5540-2009-4AB7-A427-465C09287F5D}" destId="{25367C14-7EFD-4A56-B7A6-BEA51171E829}" srcOrd="1" destOrd="0" presId="urn:microsoft.com/office/officeart/2005/8/layout/hierarchy4"/>
    <dgm:cxn modelId="{59430E33-4322-471C-8F08-530B83F0437A}" type="presParOf" srcId="{8904DE32-5DE2-4A56-9909-DDB28CE184CC}" destId="{A7B3C4B6-4D71-4379-82EE-7DA755210B32}" srcOrd="5" destOrd="0" presId="urn:microsoft.com/office/officeart/2005/8/layout/hierarchy4"/>
    <dgm:cxn modelId="{9B489A45-0CCA-4A40-934F-3A8996EDB9B8}" type="presParOf" srcId="{8904DE32-5DE2-4A56-9909-DDB28CE184CC}" destId="{DD071865-FB4B-4A98-B2A4-3852BD1C8B61}" srcOrd="6" destOrd="0" presId="urn:microsoft.com/office/officeart/2005/8/layout/hierarchy4"/>
    <dgm:cxn modelId="{CB49C2DE-B987-4B56-9BDD-018CF44AC7F9}" type="presParOf" srcId="{DD071865-FB4B-4A98-B2A4-3852BD1C8B61}" destId="{65E4BF4B-76BF-4282-88DD-9118A6C67E4F}" srcOrd="0" destOrd="0" presId="urn:microsoft.com/office/officeart/2005/8/layout/hierarchy4"/>
    <dgm:cxn modelId="{3DB01C36-BA01-4C2D-A98D-EA748D3A5D68}" type="presParOf" srcId="{DD071865-FB4B-4A98-B2A4-3852BD1C8B61}" destId="{56EC6ED2-D05B-46FF-BE2D-D21037805AD3}" srcOrd="1" destOrd="0" presId="urn:microsoft.com/office/officeart/2005/8/layout/hierarchy4"/>
    <dgm:cxn modelId="{DB4912AC-4046-4C8A-9111-3DF2C03B500A}" type="presParOf" srcId="{8904DE32-5DE2-4A56-9909-DDB28CE184CC}" destId="{F85A5702-E9DF-48A1-916D-6783451A8635}" srcOrd="7" destOrd="0" presId="urn:microsoft.com/office/officeart/2005/8/layout/hierarchy4"/>
    <dgm:cxn modelId="{8905346B-00B4-4E8A-AA88-7DE803253654}" type="presParOf" srcId="{8904DE32-5DE2-4A56-9909-DDB28CE184CC}" destId="{CCC812D4-A66E-4AD1-ABA1-694C06C9734A}" srcOrd="8" destOrd="0" presId="urn:microsoft.com/office/officeart/2005/8/layout/hierarchy4"/>
    <dgm:cxn modelId="{1CB55E96-1F59-4E74-BF9A-7F7D27F7FC39}" type="presParOf" srcId="{CCC812D4-A66E-4AD1-ABA1-694C06C9734A}" destId="{4A5E891C-D5BE-4F1A-9050-B5544DB27820}" srcOrd="0" destOrd="0" presId="urn:microsoft.com/office/officeart/2005/8/layout/hierarchy4"/>
    <dgm:cxn modelId="{6254A6F0-F22B-4580-A17D-12B58E5505A6}" type="presParOf" srcId="{CCC812D4-A66E-4AD1-ABA1-694C06C9734A}" destId="{DEDCCBB6-0F2B-464B-94F0-23B1E4C0CC04}"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Content and Language Supports </a:t>
          </a:r>
          <a:r>
            <a:rPr lang="en-US" sz="2000" b="0"/>
            <a:t>allow for various types of assistance (e.g., scaffolded directions, assistance with tracking, graphic organizers, simplified language, graphic representations of vocabulary and concepts) to support a student’s understanding of selections, test questions, and answer choices</a:t>
          </a:r>
          <a:r>
            <a:rPr lang="en-US" sz="2000" b="1"/>
            <a:t>. </a:t>
          </a:r>
          <a:r>
            <a:rPr lang="en-US" sz="2000" b="0"/>
            <a:t>A student may receive this support if served by an ARD committee, Section 504 committee, or LPAC committee (for an English test).</a:t>
          </a: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pPr>
            <a:buClr>
              <a:srgbClr val="FF8134"/>
            </a:buClr>
            <a:buFont typeface="Wingdings"/>
            <a:buChar char="§"/>
          </a:pPr>
          <a:r>
            <a:rPr kumimoji="0" lang="en-US" sz="2000" b="1" i="0" u="none" strike="noStrike" cap="none" spc="0" normalizeH="0" baseline="0" noProof="0">
              <a:ln>
                <a:noFill/>
              </a:ln>
              <a:solidFill>
                <a:srgbClr val="0D6CB9"/>
              </a:solidFill>
              <a:effectLst/>
              <a:uLnTx/>
              <a:uFillTx/>
              <a:latin typeface="Calibri"/>
              <a:cs typeface="Calibri"/>
            </a:rPr>
            <a:t>NOTE:</a:t>
          </a:r>
          <a:r>
            <a:rPr kumimoji="0" lang="en-US" sz="2000" b="0" i="0" u="none" strike="noStrike" cap="none" spc="0" normalizeH="0" baseline="0" noProof="0">
              <a:ln>
                <a:noFill/>
              </a:ln>
              <a:solidFill>
                <a:srgbClr val="0D6CB9"/>
              </a:solidFill>
              <a:effectLst/>
              <a:uLnTx/>
              <a:uFillTx/>
              <a:latin typeface="Calibri"/>
              <a:cs typeface="Calibri"/>
            </a:rPr>
            <a:t> </a:t>
          </a:r>
          <a:r>
            <a:rPr lang="en-US" sz="2000">
              <a:solidFill>
                <a:srgbClr val="0D6CB9"/>
              </a:solidFill>
            </a:rPr>
            <a:t>Students for whom the LPAC recommends content and language supports for any English reading or English EOC assessment may not be reclassified at the end of the school year.</a:t>
          </a: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pPr rtl="0">
            <a:buClr>
              <a:srgbClr val="1682C5"/>
            </a:buClr>
            <a:buSzPct val="95000"/>
            <a:buFont typeface="Arial"/>
            <a:buChar char="•"/>
          </a:pPr>
          <a:r>
            <a:rPr kumimoji="0" lang="en-US" sz="2000" b="0" i="0" u="none" strike="noStrike" cap="none" spc="0" normalizeH="0" baseline="0" noProof="0">
              <a:ln>
                <a:noFill/>
              </a:ln>
              <a:solidFill>
                <a:srgbClr val="0D6CB9"/>
              </a:solidFill>
              <a:effectLst/>
              <a:uLnTx/>
              <a:uFillTx/>
              <a:latin typeface="Calibri"/>
              <a:cs typeface="Calibri"/>
            </a:rPr>
            <a:t>EB students taking STAAR Spanish may be eligible for content and language supports if the Section 504 or ARD committee determines the student is eligible. </a:t>
          </a:r>
          <a:endParaRPr lang="en-US" sz="2000">
            <a:solidFill>
              <a:srgbClr val="0D6CB9"/>
            </a:solidFill>
            <a:latin typeface="Calibri Light" panose="020F0302020204030204"/>
          </a:endParaRP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custT="1"/>
      <dgm:spPr>
        <a:solidFill>
          <a:schemeClr val="bg1"/>
        </a:solidFill>
        <a:ln>
          <a:solidFill>
            <a:srgbClr val="F16038"/>
          </a:solidFill>
        </a:ln>
      </dgm:spPr>
      <dgm:t>
        <a:bodyPr/>
        <a:lstStyle/>
        <a:p>
          <a:pPr rtl="0"/>
          <a:r>
            <a:rPr kumimoji="0" lang="en-US" sz="2000" b="0" i="0" u="none" strike="noStrike" cap="none" spc="0" normalizeH="0" baseline="0" noProof="0">
              <a:ln>
                <a:noFill/>
              </a:ln>
              <a:solidFill>
                <a:srgbClr val="0D6CB9"/>
              </a:solidFill>
              <a:effectLst/>
              <a:uLnTx/>
              <a:uFillTx/>
              <a:latin typeface="Calibri" panose="020F0502020204030204"/>
              <a:ea typeface="+mn-ea"/>
              <a:cs typeface="+mn-cs"/>
            </a:rPr>
            <a:t> Supports are provided in the form of pop-ups, rollovers, prereading text, and supplementary materials, and are available on STAAR and STAAR Spanish online tests </a:t>
          </a:r>
          <a:r>
            <a:rPr kumimoji="0" lang="en-US" sz="2000" b="1" i="0" u="none" strike="noStrike" cap="none" spc="0" normalizeH="0" baseline="0" noProof="0">
              <a:ln>
                <a:noFill/>
              </a:ln>
              <a:solidFill>
                <a:srgbClr val="0D6CB9"/>
              </a:solidFill>
              <a:effectLst/>
              <a:uLnTx/>
              <a:uFillTx/>
              <a:latin typeface="Calibri" panose="020F0502020204030204"/>
              <a:ea typeface="+mn-ea"/>
              <a:cs typeface="+mn-cs"/>
            </a:rPr>
            <a:t>only.</a:t>
          </a:r>
          <a:r>
            <a:rPr kumimoji="0" lang="en-US" sz="2000" b="0" i="0" u="none" strike="noStrike" cap="none" spc="0" normalizeH="0" baseline="0" noProof="0">
              <a:ln>
                <a:noFill/>
              </a:ln>
              <a:solidFill>
                <a:srgbClr val="0D6CB9"/>
              </a:solidFill>
              <a:effectLst/>
              <a:uLnTx/>
              <a:uFillTx/>
              <a:latin typeface="Calibri" panose="020F0502020204030204"/>
              <a:ea typeface="+mn-ea"/>
              <a:cs typeface="+mn-cs"/>
            </a:rPr>
            <a:t> </a:t>
          </a: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110156"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84F25909-9982-455F-9EE6-7A95E8CE37EB}" type="pres">
      <dgm:prSet presAssocID="{6B35D56E-6707-4595-8455-BDB7BFF761EA}" presName="vertTwo" presStyleCnt="0"/>
      <dgm:spPr/>
    </dgm:pt>
    <dgm:pt modelId="{4B67EDD2-C436-4E4B-9599-E8EE4A57B918}" type="pres">
      <dgm:prSet presAssocID="{6B35D56E-6707-4595-8455-BDB7BFF761EA}" presName="txTwo" presStyleLbl="node2" presStyleIdx="0" presStyleCnt="2" custScaleX="219541" custLinFactNeighborX="2844" custLinFactNeighborY="43024">
        <dgm:presLayoutVars>
          <dgm:chPref val="3"/>
        </dgm:presLayoutVars>
      </dgm:prSet>
      <dgm:spPr/>
    </dgm:pt>
    <dgm:pt modelId="{6AB8448A-8229-46DE-B7D7-3F7ED08522A4}" type="pres">
      <dgm:prSet presAssocID="{6B35D56E-6707-4595-8455-BDB7BFF761EA}" presName="horzTwo" presStyleCnt="0"/>
      <dgm:spPr/>
    </dgm:pt>
    <dgm:pt modelId="{0BCB0404-9007-4751-B721-4158D99BE9F3}" type="pres">
      <dgm:prSet presAssocID="{6F774487-1E45-4AB8-8A05-838BFF338925}"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custLinFactY="94808" custLinFactNeighborX="756" custLinFactNeighborY="100000">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0" presStyleCnt="1" custScaleX="306690" custScaleY="109048" custLinFactY="-21193" custLinFactNeighborX="-2358" custLinFactNeighborY="-100000">
        <dgm:presLayoutVars>
          <dgm:chPref val="3"/>
        </dgm:presLayoutVars>
      </dgm:prSet>
      <dgm:spPr/>
    </dgm:pt>
    <dgm:pt modelId="{7793130B-EEE8-4C7A-B976-B121CC3E71F1}" type="pres">
      <dgm:prSet presAssocID="{25302B53-6A51-4710-96F8-78ABB1DE0CA0}" presName="horzThree" presStyleCnt="0"/>
      <dgm:spPr/>
    </dgm:pt>
  </dgm:ptLst>
  <dgm:cxnLst>
    <dgm:cxn modelId="{CAFB3D3B-2CBE-4A63-A203-199CFAEE5E70}" srcId="{5C208612-5DE7-40FD-AB85-24F5FEE384E8}" destId="{6B35D56E-6707-4595-8455-BDB7BFF761EA}" srcOrd="0" destOrd="0" parTransId="{A3CAF740-9126-445C-894A-350E014E53C0}" sibTransId="{6F774487-1E45-4AB8-8A05-838BFF338925}"/>
    <dgm:cxn modelId="{B90A789F-4F0A-44B4-9B53-CC9676A539C2}" srcId="{16BE57A8-444B-4ACE-971C-51039F4849F9}" destId="{25302B53-6A51-4710-96F8-78ABB1DE0CA0}" srcOrd="0" destOrd="0" parTransId="{7BB07296-A576-47AE-9E1E-78AC60CAF7DD}" sibTransId="{98D58E38-4822-438A-B1F5-DB3E6F3C451E}"/>
    <dgm:cxn modelId="{F8DEEAA2-8678-453C-8CC9-76A12F0BB3B6}" type="presOf" srcId="{6B35D56E-6707-4595-8455-BDB7BFF761EA}" destId="{4B67EDD2-C436-4E4B-9599-E8EE4A57B918}" srcOrd="0" destOrd="0" presId="urn:microsoft.com/office/officeart/2005/8/layout/hierarchy4"/>
    <dgm:cxn modelId="{CA6931AF-F7FC-445C-A679-C8ED5DFF8419}" type="presOf" srcId="{5C208612-5DE7-40FD-AB85-24F5FEE384E8}" destId="{5C2742FE-7329-4DDC-BC71-07253AC9681B}" srcOrd="0" destOrd="0" presId="urn:microsoft.com/office/officeart/2005/8/layout/hierarchy4"/>
    <dgm:cxn modelId="{1C6567AF-8757-482B-8AF5-B1FADC854674}" type="presOf" srcId="{25302B53-6A51-4710-96F8-78ABB1DE0CA0}" destId="{2595DE9B-56E6-4317-A120-D24001D4CDC3}"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AFA6F4F2-B8B9-4855-9B2A-4EA17B003AF3}" type="presOf" srcId="{16BE57A8-444B-4ACE-971C-51039F4849F9}" destId="{30FF46CB-5EE4-404F-B592-88A5EB36026F}" srcOrd="0" destOrd="0" presId="urn:microsoft.com/office/officeart/2005/8/layout/hierarchy4"/>
    <dgm:cxn modelId="{85D662C4-3060-44F5-817B-40852023E443}" type="presParOf" srcId="{8B4529E8-F0B1-4DF1-A5D9-C41B5B3A34E3}" destId="{0B5ECF28-8AD8-42A6-83E4-2EA0792223E2}" srcOrd="0" destOrd="0" presId="urn:microsoft.com/office/officeart/2005/8/layout/hierarchy4"/>
    <dgm:cxn modelId="{49B651F0-C8C9-4304-86CE-1AA141924180}" type="presParOf" srcId="{0B5ECF28-8AD8-42A6-83E4-2EA0792223E2}" destId="{5C2742FE-7329-4DDC-BC71-07253AC9681B}" srcOrd="0" destOrd="0" presId="urn:microsoft.com/office/officeart/2005/8/layout/hierarchy4"/>
    <dgm:cxn modelId="{1C813C84-20B5-4396-85AF-093B94FDCF5E}" type="presParOf" srcId="{0B5ECF28-8AD8-42A6-83E4-2EA0792223E2}" destId="{33AE3D73-BEA3-4A7B-9E65-B50E632C65F0}" srcOrd="1" destOrd="0" presId="urn:microsoft.com/office/officeart/2005/8/layout/hierarchy4"/>
    <dgm:cxn modelId="{2F489CD1-A1FA-4BDA-B873-C7ECD4E206BE}" type="presParOf" srcId="{0B5ECF28-8AD8-42A6-83E4-2EA0792223E2}" destId="{0AC39A0B-5DD0-4828-AF09-44532F324E64}" srcOrd="2" destOrd="0" presId="urn:microsoft.com/office/officeart/2005/8/layout/hierarchy4"/>
    <dgm:cxn modelId="{0633BD1A-6428-4B1D-A1A4-69100F910D9E}" type="presParOf" srcId="{0AC39A0B-5DD0-4828-AF09-44532F324E64}" destId="{84F25909-9982-455F-9EE6-7A95E8CE37EB}" srcOrd="0" destOrd="0" presId="urn:microsoft.com/office/officeart/2005/8/layout/hierarchy4"/>
    <dgm:cxn modelId="{D15DBC71-E293-4EE7-BBFE-498115D8EBC7}" type="presParOf" srcId="{84F25909-9982-455F-9EE6-7A95E8CE37EB}" destId="{4B67EDD2-C436-4E4B-9599-E8EE4A57B918}" srcOrd="0" destOrd="0" presId="urn:microsoft.com/office/officeart/2005/8/layout/hierarchy4"/>
    <dgm:cxn modelId="{5D6A7473-B957-45B8-AB9A-5E637F961C72}" type="presParOf" srcId="{84F25909-9982-455F-9EE6-7A95E8CE37EB}" destId="{6AB8448A-8229-46DE-B7D7-3F7ED08522A4}" srcOrd="1" destOrd="0" presId="urn:microsoft.com/office/officeart/2005/8/layout/hierarchy4"/>
    <dgm:cxn modelId="{A380A6AF-3E7E-437A-ADB6-BA7E2F4DE5A2}" type="presParOf" srcId="{0AC39A0B-5DD0-4828-AF09-44532F324E64}" destId="{0BCB0404-9007-4751-B721-4158D99BE9F3}" srcOrd="1" destOrd="0" presId="urn:microsoft.com/office/officeart/2005/8/layout/hierarchy4"/>
    <dgm:cxn modelId="{05BE98E9-6359-4617-B9E4-F3AB28A6DA08}" type="presParOf" srcId="{0AC39A0B-5DD0-4828-AF09-44532F324E64}" destId="{9462A209-414D-4EC6-AF5E-F3E689920139}" srcOrd="2" destOrd="0" presId="urn:microsoft.com/office/officeart/2005/8/layout/hierarchy4"/>
    <dgm:cxn modelId="{22742EE9-0551-4558-86F5-E11237FA3998}" type="presParOf" srcId="{9462A209-414D-4EC6-AF5E-F3E689920139}" destId="{30FF46CB-5EE4-404F-B592-88A5EB36026F}" srcOrd="0" destOrd="0" presId="urn:microsoft.com/office/officeart/2005/8/layout/hierarchy4"/>
    <dgm:cxn modelId="{10C0BD76-82F8-4AA7-97D3-828B9D5696E5}" type="presParOf" srcId="{9462A209-414D-4EC6-AF5E-F3E689920139}" destId="{C513F371-4A9C-430A-95A9-AD109EEC92DF}" srcOrd="1" destOrd="0" presId="urn:microsoft.com/office/officeart/2005/8/layout/hierarchy4"/>
    <dgm:cxn modelId="{052C28C0-4D03-4AC7-A165-C35D0B2AFA21}" type="presParOf" srcId="{9462A209-414D-4EC6-AF5E-F3E689920139}" destId="{6A6AE19D-B50F-4CB7-93D6-35C47B536F5F}" srcOrd="2" destOrd="0" presId="urn:microsoft.com/office/officeart/2005/8/layout/hierarchy4"/>
    <dgm:cxn modelId="{4AAF26E3-20D5-459A-BD29-FB500803DEB2}" type="presParOf" srcId="{6A6AE19D-B50F-4CB7-93D6-35C47B536F5F}" destId="{B6B8B31B-8BBB-4890-9907-C2A1C188EBA1}" srcOrd="0" destOrd="0" presId="urn:microsoft.com/office/officeart/2005/8/layout/hierarchy4"/>
    <dgm:cxn modelId="{963816CF-1667-439A-8211-4F4E00EFA94E}" type="presParOf" srcId="{B6B8B31B-8BBB-4890-9907-C2A1C188EBA1}" destId="{2595DE9B-56E6-4317-A120-D24001D4CDC3}" srcOrd="0" destOrd="0" presId="urn:microsoft.com/office/officeart/2005/8/layout/hierarchy4"/>
    <dgm:cxn modelId="{11D67559-01D6-4569-B481-2512A8F1C69E}"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7E1D13-2FC3-440E-846F-FB2D31520245}" type="doc">
      <dgm:prSet loTypeId="urn:microsoft.com/office/officeart/2008/layout/RadialCluster" loCatId="relationship" qsTypeId="urn:microsoft.com/office/officeart/2005/8/quickstyle/simple1" qsCatId="simple" csTypeId="urn:microsoft.com/office/officeart/2005/8/colors/accent0_3" csCatId="mainScheme" phldr="1"/>
      <dgm:spPr/>
      <dgm:t>
        <a:bodyPr/>
        <a:lstStyle/>
        <a:p>
          <a:endParaRPr lang="en-US"/>
        </a:p>
      </dgm:t>
    </dgm:pt>
    <dgm:pt modelId="{23EEA64D-8F46-49BC-99CD-756096D457B0}">
      <dgm:prSet phldrT="[Text]"/>
      <dgm:spPr/>
      <dgm:t>
        <a:bodyPr/>
        <a:lstStyle/>
        <a:p>
          <a:r>
            <a:rPr lang="en-US"/>
            <a:t>Accommodations Policy</a:t>
          </a:r>
        </a:p>
      </dgm:t>
    </dgm:pt>
    <dgm:pt modelId="{58655B71-21CF-4208-BFBD-7713376DD0DB}" type="parTrans" cxnId="{7CA9677E-40A1-433E-AF7D-130CA240B4C4}">
      <dgm:prSet/>
      <dgm:spPr/>
      <dgm:t>
        <a:bodyPr/>
        <a:lstStyle/>
        <a:p>
          <a:endParaRPr lang="en-US"/>
        </a:p>
      </dgm:t>
    </dgm:pt>
    <dgm:pt modelId="{E5DF455D-2BB5-4C9A-B8D2-395A0577C189}" type="sibTrans" cxnId="{7CA9677E-40A1-433E-AF7D-130CA240B4C4}">
      <dgm:prSet/>
      <dgm:spPr/>
      <dgm:t>
        <a:bodyPr/>
        <a:lstStyle/>
        <a:p>
          <a:endParaRPr lang="en-US"/>
        </a:p>
      </dgm:t>
    </dgm:pt>
    <dgm:pt modelId="{8DDEB7F3-9475-4458-B933-B1206BE8CBAD}">
      <dgm:prSet phldrT="[Text]"/>
      <dgm:spPr/>
      <dgm:t>
        <a:bodyPr/>
        <a:lstStyle/>
        <a:p>
          <a:r>
            <a:rPr lang="en-US"/>
            <a:t>STAAR</a:t>
          </a:r>
        </a:p>
      </dgm:t>
    </dgm:pt>
    <dgm:pt modelId="{362DC11E-E88B-4513-BA9A-1082653E41FB}" type="parTrans" cxnId="{82889621-12C4-43E6-99C8-613F176AE1F1}">
      <dgm:prSet/>
      <dgm:spPr/>
      <dgm:t>
        <a:bodyPr/>
        <a:lstStyle/>
        <a:p>
          <a:endParaRPr lang="en-US"/>
        </a:p>
      </dgm:t>
    </dgm:pt>
    <dgm:pt modelId="{B9561EDD-2E87-4AD0-8C20-A1D18E9F4D65}" type="sibTrans" cxnId="{82889621-12C4-43E6-99C8-613F176AE1F1}">
      <dgm:prSet/>
      <dgm:spPr/>
      <dgm:t>
        <a:bodyPr/>
        <a:lstStyle/>
        <a:p>
          <a:endParaRPr lang="en-US"/>
        </a:p>
      </dgm:t>
    </dgm:pt>
    <dgm:pt modelId="{0CD37716-6C88-418B-B908-B28BF43AC745}">
      <dgm:prSet phldrT="[Text]"/>
      <dgm:spPr/>
      <dgm:t>
        <a:bodyPr/>
        <a:lstStyle/>
        <a:p>
          <a:r>
            <a:rPr lang="en-US" dirty="0"/>
            <a:t>TELPAS</a:t>
          </a:r>
        </a:p>
      </dgm:t>
    </dgm:pt>
    <dgm:pt modelId="{2E2F7912-4B6E-43DF-A6E6-47F8B4DAF5F2}" type="parTrans" cxnId="{4B603594-0488-4B1E-82F0-D3651CDCDF53}">
      <dgm:prSet/>
      <dgm:spPr/>
      <dgm:t>
        <a:bodyPr/>
        <a:lstStyle/>
        <a:p>
          <a:endParaRPr lang="en-US"/>
        </a:p>
      </dgm:t>
    </dgm:pt>
    <dgm:pt modelId="{469E2348-186C-4B1D-887F-8A7D09C0FA60}" type="sibTrans" cxnId="{4B603594-0488-4B1E-82F0-D3651CDCDF53}">
      <dgm:prSet/>
      <dgm:spPr/>
      <dgm:t>
        <a:bodyPr/>
        <a:lstStyle/>
        <a:p>
          <a:endParaRPr lang="en-US"/>
        </a:p>
      </dgm:t>
    </dgm:pt>
    <dgm:pt modelId="{C14020A2-BBBA-4C5E-994B-3E5B25FB2417}">
      <dgm:prSet phldrT="[Text]"/>
      <dgm:spPr/>
      <dgm:t>
        <a:bodyPr/>
        <a:lstStyle/>
        <a:p>
          <a:r>
            <a:rPr lang="en-US"/>
            <a:t>STAAR (Spanish)</a:t>
          </a:r>
        </a:p>
      </dgm:t>
    </dgm:pt>
    <dgm:pt modelId="{381E32DE-6F5E-44D0-9AE3-8E6D9CC4F89A}" type="parTrans" cxnId="{FC23AF62-967B-465D-9FBF-22C78A708F91}">
      <dgm:prSet/>
      <dgm:spPr/>
      <dgm:t>
        <a:bodyPr/>
        <a:lstStyle/>
        <a:p>
          <a:endParaRPr lang="en-US"/>
        </a:p>
      </dgm:t>
    </dgm:pt>
    <dgm:pt modelId="{D27BBBFA-3A05-4E1C-BEFC-5F3B059507F8}" type="sibTrans" cxnId="{FC23AF62-967B-465D-9FBF-22C78A708F91}">
      <dgm:prSet/>
      <dgm:spPr/>
      <dgm:t>
        <a:bodyPr/>
        <a:lstStyle/>
        <a:p>
          <a:endParaRPr lang="en-US"/>
        </a:p>
      </dgm:t>
    </dgm:pt>
    <dgm:pt modelId="{4C93A19B-2748-4E25-A110-5CA76D1A42D5}" type="pres">
      <dgm:prSet presAssocID="{807E1D13-2FC3-440E-846F-FB2D31520245}" presName="Name0" presStyleCnt="0">
        <dgm:presLayoutVars>
          <dgm:chMax val="1"/>
          <dgm:chPref val="1"/>
          <dgm:dir/>
          <dgm:animOne val="branch"/>
          <dgm:animLvl val="lvl"/>
        </dgm:presLayoutVars>
      </dgm:prSet>
      <dgm:spPr/>
    </dgm:pt>
    <dgm:pt modelId="{7A5F8F69-8843-48A6-AEF0-B1EF141E7E2C}" type="pres">
      <dgm:prSet presAssocID="{23EEA64D-8F46-49BC-99CD-756096D457B0}" presName="singleCycle" presStyleCnt="0"/>
      <dgm:spPr/>
    </dgm:pt>
    <dgm:pt modelId="{422FD5C9-83BD-4CEB-88CC-115D44428414}" type="pres">
      <dgm:prSet presAssocID="{23EEA64D-8F46-49BC-99CD-756096D457B0}" presName="singleCenter" presStyleLbl="node1" presStyleIdx="0" presStyleCnt="4" custScaleX="127032" custScaleY="127934" custLinFactNeighborY="-2533">
        <dgm:presLayoutVars>
          <dgm:chMax val="7"/>
          <dgm:chPref val="7"/>
        </dgm:presLayoutVars>
      </dgm:prSet>
      <dgm:spPr/>
    </dgm:pt>
    <dgm:pt modelId="{AB1F3546-6494-4AE2-A643-8CEBD0398852}" type="pres">
      <dgm:prSet presAssocID="{362DC11E-E88B-4513-BA9A-1082653E41FB}" presName="Name56" presStyleLbl="parChTrans1D2" presStyleIdx="0" presStyleCnt="3"/>
      <dgm:spPr/>
    </dgm:pt>
    <dgm:pt modelId="{0F36A8B8-C869-4E80-A1CC-5FB09EABF031}" type="pres">
      <dgm:prSet presAssocID="{8DDEB7F3-9475-4458-B933-B1206BE8CBAD}" presName="text0" presStyleLbl="node1" presStyleIdx="1" presStyleCnt="4">
        <dgm:presLayoutVars>
          <dgm:bulletEnabled val="1"/>
        </dgm:presLayoutVars>
      </dgm:prSet>
      <dgm:spPr/>
    </dgm:pt>
    <dgm:pt modelId="{5BBC0E65-6452-4EE2-83ED-98C058F9BEF4}" type="pres">
      <dgm:prSet presAssocID="{2E2F7912-4B6E-43DF-A6E6-47F8B4DAF5F2}" presName="Name56" presStyleLbl="parChTrans1D2" presStyleIdx="1" presStyleCnt="3"/>
      <dgm:spPr/>
    </dgm:pt>
    <dgm:pt modelId="{26E9713B-A92A-42D7-8CC1-8CDC472FFDE5}" type="pres">
      <dgm:prSet presAssocID="{0CD37716-6C88-418B-B908-B28BF43AC745}" presName="text0" presStyleLbl="node1" presStyleIdx="2" presStyleCnt="4">
        <dgm:presLayoutVars>
          <dgm:bulletEnabled val="1"/>
        </dgm:presLayoutVars>
      </dgm:prSet>
      <dgm:spPr/>
    </dgm:pt>
    <dgm:pt modelId="{C822831D-0C6B-4A8D-AEFB-265250F68ABF}" type="pres">
      <dgm:prSet presAssocID="{381E32DE-6F5E-44D0-9AE3-8E6D9CC4F89A}" presName="Name56" presStyleLbl="parChTrans1D2" presStyleIdx="2" presStyleCnt="3"/>
      <dgm:spPr/>
    </dgm:pt>
    <dgm:pt modelId="{DD9F5FC1-FF09-47CA-BC06-03F4318604B7}" type="pres">
      <dgm:prSet presAssocID="{C14020A2-BBBA-4C5E-994B-3E5B25FB2417}" presName="text0" presStyleLbl="node1" presStyleIdx="3" presStyleCnt="4">
        <dgm:presLayoutVars>
          <dgm:bulletEnabled val="1"/>
        </dgm:presLayoutVars>
      </dgm:prSet>
      <dgm:spPr/>
    </dgm:pt>
  </dgm:ptLst>
  <dgm:cxnLst>
    <dgm:cxn modelId="{656B7005-EFCF-4E07-86CF-44CEEEAFCCA9}" type="presOf" srcId="{381E32DE-6F5E-44D0-9AE3-8E6D9CC4F89A}" destId="{C822831D-0C6B-4A8D-AEFB-265250F68ABF}" srcOrd="0" destOrd="0" presId="urn:microsoft.com/office/officeart/2008/layout/RadialCluster"/>
    <dgm:cxn modelId="{6B644519-EC9A-4B9F-AF4A-E960D178E1BE}" type="presOf" srcId="{807E1D13-2FC3-440E-846F-FB2D31520245}" destId="{4C93A19B-2748-4E25-A110-5CA76D1A42D5}" srcOrd="0" destOrd="0" presId="urn:microsoft.com/office/officeart/2008/layout/RadialCluster"/>
    <dgm:cxn modelId="{82889621-12C4-43E6-99C8-613F176AE1F1}" srcId="{23EEA64D-8F46-49BC-99CD-756096D457B0}" destId="{8DDEB7F3-9475-4458-B933-B1206BE8CBAD}" srcOrd="0" destOrd="0" parTransId="{362DC11E-E88B-4513-BA9A-1082653E41FB}" sibTransId="{B9561EDD-2E87-4AD0-8C20-A1D18E9F4D65}"/>
    <dgm:cxn modelId="{1FBCBE23-9C4A-4D31-B167-E99EB626DBA8}" type="presOf" srcId="{23EEA64D-8F46-49BC-99CD-756096D457B0}" destId="{422FD5C9-83BD-4CEB-88CC-115D44428414}" srcOrd="0" destOrd="0" presId="urn:microsoft.com/office/officeart/2008/layout/RadialCluster"/>
    <dgm:cxn modelId="{FC23AF62-967B-465D-9FBF-22C78A708F91}" srcId="{23EEA64D-8F46-49BC-99CD-756096D457B0}" destId="{C14020A2-BBBA-4C5E-994B-3E5B25FB2417}" srcOrd="2" destOrd="0" parTransId="{381E32DE-6F5E-44D0-9AE3-8E6D9CC4F89A}" sibTransId="{D27BBBFA-3A05-4E1C-BEFC-5F3B059507F8}"/>
    <dgm:cxn modelId="{E3541D69-2057-4ED6-B760-3CE9940DE25D}" type="presOf" srcId="{8DDEB7F3-9475-4458-B933-B1206BE8CBAD}" destId="{0F36A8B8-C869-4E80-A1CC-5FB09EABF031}" srcOrd="0" destOrd="0" presId="urn:microsoft.com/office/officeart/2008/layout/RadialCluster"/>
    <dgm:cxn modelId="{4B2F4070-B35D-43F7-8027-3E9C204CCBD3}" type="presOf" srcId="{2E2F7912-4B6E-43DF-A6E6-47F8B4DAF5F2}" destId="{5BBC0E65-6452-4EE2-83ED-98C058F9BEF4}" srcOrd="0" destOrd="0" presId="urn:microsoft.com/office/officeart/2008/layout/RadialCluster"/>
    <dgm:cxn modelId="{62FBB053-A592-4AFA-BEAC-C7054A463BA3}" type="presOf" srcId="{0CD37716-6C88-418B-B908-B28BF43AC745}" destId="{26E9713B-A92A-42D7-8CC1-8CDC472FFDE5}" srcOrd="0" destOrd="0" presId="urn:microsoft.com/office/officeart/2008/layout/RadialCluster"/>
    <dgm:cxn modelId="{7CA9677E-40A1-433E-AF7D-130CA240B4C4}" srcId="{807E1D13-2FC3-440E-846F-FB2D31520245}" destId="{23EEA64D-8F46-49BC-99CD-756096D457B0}" srcOrd="0" destOrd="0" parTransId="{58655B71-21CF-4208-BFBD-7713376DD0DB}" sibTransId="{E5DF455D-2BB5-4C9A-B8D2-395A0577C189}"/>
    <dgm:cxn modelId="{4B603594-0488-4B1E-82F0-D3651CDCDF53}" srcId="{23EEA64D-8F46-49BC-99CD-756096D457B0}" destId="{0CD37716-6C88-418B-B908-B28BF43AC745}" srcOrd="1" destOrd="0" parTransId="{2E2F7912-4B6E-43DF-A6E6-47F8B4DAF5F2}" sibTransId="{469E2348-186C-4B1D-887F-8A7D09C0FA60}"/>
    <dgm:cxn modelId="{037AC8BF-358B-4820-889B-DBD055077959}" type="presOf" srcId="{C14020A2-BBBA-4C5E-994B-3E5B25FB2417}" destId="{DD9F5FC1-FF09-47CA-BC06-03F4318604B7}" srcOrd="0" destOrd="0" presId="urn:microsoft.com/office/officeart/2008/layout/RadialCluster"/>
    <dgm:cxn modelId="{12B0E6E7-14A8-45CA-967C-A2FF1CD6C0EE}" type="presOf" srcId="{362DC11E-E88B-4513-BA9A-1082653E41FB}" destId="{AB1F3546-6494-4AE2-A643-8CEBD0398852}" srcOrd="0" destOrd="0" presId="urn:microsoft.com/office/officeart/2008/layout/RadialCluster"/>
    <dgm:cxn modelId="{277B59EE-D057-41EF-8868-3286107FB06C}" type="presParOf" srcId="{4C93A19B-2748-4E25-A110-5CA76D1A42D5}" destId="{7A5F8F69-8843-48A6-AEF0-B1EF141E7E2C}" srcOrd="0" destOrd="0" presId="urn:microsoft.com/office/officeart/2008/layout/RadialCluster"/>
    <dgm:cxn modelId="{99685AA7-8C91-4BBD-B691-FACA9DE5D7D7}" type="presParOf" srcId="{7A5F8F69-8843-48A6-AEF0-B1EF141E7E2C}" destId="{422FD5C9-83BD-4CEB-88CC-115D44428414}" srcOrd="0" destOrd="0" presId="urn:microsoft.com/office/officeart/2008/layout/RadialCluster"/>
    <dgm:cxn modelId="{2884003F-B63D-45C3-A4A6-3DA3DBF96C3C}" type="presParOf" srcId="{7A5F8F69-8843-48A6-AEF0-B1EF141E7E2C}" destId="{AB1F3546-6494-4AE2-A643-8CEBD0398852}" srcOrd="1" destOrd="0" presId="urn:microsoft.com/office/officeart/2008/layout/RadialCluster"/>
    <dgm:cxn modelId="{60D765C8-45B8-4BD1-ABD5-35E0993CCB2B}" type="presParOf" srcId="{7A5F8F69-8843-48A6-AEF0-B1EF141E7E2C}" destId="{0F36A8B8-C869-4E80-A1CC-5FB09EABF031}" srcOrd="2" destOrd="0" presId="urn:microsoft.com/office/officeart/2008/layout/RadialCluster"/>
    <dgm:cxn modelId="{EBFEB334-F5EF-4C9F-A174-5C1BA593463C}" type="presParOf" srcId="{7A5F8F69-8843-48A6-AEF0-B1EF141E7E2C}" destId="{5BBC0E65-6452-4EE2-83ED-98C058F9BEF4}" srcOrd="3" destOrd="0" presId="urn:microsoft.com/office/officeart/2008/layout/RadialCluster"/>
    <dgm:cxn modelId="{574DB00D-E427-47CF-860B-7F203C6B1EE4}" type="presParOf" srcId="{7A5F8F69-8843-48A6-AEF0-B1EF141E7E2C}" destId="{26E9713B-A92A-42D7-8CC1-8CDC472FFDE5}" srcOrd="4" destOrd="0" presId="urn:microsoft.com/office/officeart/2008/layout/RadialCluster"/>
    <dgm:cxn modelId="{945550F3-122F-44F8-8B1C-5C41C69B4E54}" type="presParOf" srcId="{7A5F8F69-8843-48A6-AEF0-B1EF141E7E2C}" destId="{C822831D-0C6B-4A8D-AEFB-265250F68ABF}" srcOrd="5" destOrd="0" presId="urn:microsoft.com/office/officeart/2008/layout/RadialCluster"/>
    <dgm:cxn modelId="{6338569F-DD02-425C-ACC2-F4BA5CA1589B}" type="presParOf" srcId="{7A5F8F69-8843-48A6-AEF0-B1EF141E7E2C}" destId="{DD9F5FC1-FF09-47CA-BC06-03F4318604B7}" srcOrd="6" destOrd="0" presId="urn:microsoft.com/office/officeart/2008/layout/RadialCluster"/>
  </dgm:cxnLst>
  <dgm:bg>
    <a:blipFill dpi="0" rotWithShape="1">
      <a:blip xmlns:r="http://schemas.openxmlformats.org/officeDocument/2006/relationships" r:embed="rId1">
        <a:alphaModFix amt="11000"/>
      </a:blip>
      <a:srcRect/>
      <a:stretch>
        <a:fillRect/>
      </a:stretch>
    </a:blip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Content and Language Supports </a:t>
          </a:r>
          <a:r>
            <a:rPr lang="en-US" sz="2000" b="0"/>
            <a:t>(continued):</a:t>
          </a:r>
          <a:endParaRPr lang="en-US" sz="28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a:r>
            <a:rPr kumimoji="0" lang="en-US" sz="2000" b="1" i="0" u="none" strike="noStrike" cap="none" spc="0" normalizeH="0" baseline="0" noProof="0">
              <a:ln>
                <a:noFill/>
              </a:ln>
              <a:solidFill>
                <a:srgbClr val="0D6CB9"/>
              </a:solidFill>
              <a:effectLst/>
              <a:uLnTx/>
              <a:uFillTx/>
              <a:latin typeface="Calibri" panose="020F0502020204030204"/>
              <a:ea typeface="+mn-ea"/>
              <a:cs typeface="+mn-cs"/>
            </a:rPr>
            <a:t>NOTE: </a:t>
          </a:r>
          <a:r>
            <a:rPr kumimoji="0" lang="en-US" sz="2000" b="0" i="0" u="none" strike="noStrike" cap="none" spc="0" normalizeH="0" baseline="0" noProof="0">
              <a:ln>
                <a:noFill/>
              </a:ln>
              <a:solidFill>
                <a:srgbClr val="0D6CB9"/>
              </a:solidFill>
              <a:effectLst/>
              <a:uLnTx/>
              <a:uFillTx/>
              <a:latin typeface="Calibri" panose="020F0502020204030204"/>
              <a:ea typeface="+mn-ea"/>
              <a:cs typeface="+mn-cs"/>
            </a:rPr>
            <a:t>Although STAAR Spanish uses the same guidelines for Content and Language Supports as the English version of STAAR, some of the accommodations in the pop-ups and rollovers may not be identical due to linguistic differences. </a:t>
          </a:r>
          <a:endParaRPr kumimoji="0" lang="en-US" sz="2000" b="0" i="0" u="none" strike="noStrike" cap="none" spc="0" normalizeH="0" baseline="0" noProof="0">
            <a:ln>
              <a:noFill/>
            </a:ln>
            <a:solidFill>
              <a:srgbClr val="0D6CB9"/>
            </a:solidFill>
            <a:effectLst/>
            <a:uLnTx/>
            <a:uFillTx/>
            <a:latin typeface="Calibri"/>
            <a:cs typeface="Calibri"/>
          </a:endParaRPr>
        </a:p>
      </dgm: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r>
            <a:rPr kumimoji="0" lang="en-US" sz="2000" b="0" i="0" u="none" strike="noStrike" cap="none" spc="0" normalizeH="0" baseline="0" noProof="0">
              <a:ln>
                <a:noFill/>
              </a:ln>
              <a:solidFill>
                <a:srgbClr val="0D6CB9"/>
              </a:solidFill>
              <a:effectLst/>
              <a:uLnTx/>
              <a:uFillTx/>
              <a:latin typeface="Calibri"/>
              <a:cs typeface="Calibri"/>
            </a:rPr>
            <a:t>STAAR and STAAR Spanish with embedded supports paper version available through the </a:t>
          </a:r>
          <a:r>
            <a:rPr kumimoji="0" lang="en-US" sz="2000" b="0" i="1" u="none" strike="noStrike" cap="none" spc="0" normalizeH="0" baseline="0" noProof="0">
              <a:ln>
                <a:noFill/>
              </a:ln>
              <a:solidFill>
                <a:srgbClr val="0D6CB9"/>
              </a:solidFill>
              <a:effectLst/>
              <a:uLnTx/>
              <a:uFillTx/>
              <a:latin typeface="Calibri"/>
              <a:cs typeface="Calibri"/>
            </a:rPr>
            <a:t>Special Paper Administration Process.</a:t>
          </a:r>
          <a:endParaRPr lang="en-US" sz="2000" i="1">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pPr algn="ctr" rtl="0"/>
          <a:r>
            <a:rPr lang="en-US" sz="2000">
              <a:solidFill>
                <a:srgbClr val="0D6CB9"/>
              </a:solidFill>
            </a:rPr>
            <a:t>Writing, including Eng. I and II, will ONLY have </a:t>
          </a:r>
          <a:r>
            <a:rPr lang="en-US" sz="2000" err="1">
              <a:solidFill>
                <a:srgbClr val="0D6CB9"/>
              </a:solidFill>
            </a:rPr>
            <a:t>prereads</a:t>
          </a:r>
          <a:r>
            <a:rPr lang="en-US" sz="2000">
              <a:solidFill>
                <a:srgbClr val="0D6CB9"/>
              </a:solidFill>
            </a:rPr>
            <a:t> prior to the editing passages.</a:t>
          </a:r>
          <a:r>
            <a:rPr lang="en-US" sz="2000">
              <a:solidFill>
                <a:srgbClr val="0D6CB9"/>
              </a:solidFill>
              <a:latin typeface="Calibri Light" panose="020F0302020204030204"/>
            </a:rPr>
            <a:t> </a:t>
          </a:r>
          <a:endParaRPr lang="en-US" sz="2000">
            <a:solidFill>
              <a:srgbClr val="0D6CB9"/>
            </a:solidFill>
          </a:endParaRPr>
        </a:p>
        <a:p>
          <a:pPr algn="ctr"/>
          <a:r>
            <a:rPr lang="en-US" sz="2000">
              <a:solidFill>
                <a:srgbClr val="0D6CB9"/>
              </a:solidFill>
            </a:rPr>
            <a:t>Reading selections, including Eng. I and II, will have </a:t>
          </a:r>
          <a:r>
            <a:rPr lang="en-US" sz="2000" err="1">
              <a:solidFill>
                <a:srgbClr val="0D6CB9"/>
              </a:solidFill>
            </a:rPr>
            <a:t>prereads</a:t>
          </a:r>
          <a:r>
            <a:rPr lang="en-US" sz="2000">
              <a:solidFill>
                <a:srgbClr val="0D6CB9"/>
              </a:solidFill>
            </a:rPr>
            <a:t> prior to the selections.</a:t>
          </a:r>
          <a:endParaRPr lang="en-US" sz="2400">
            <a:solidFill>
              <a:srgbClr val="0D6CB9"/>
            </a:solidFill>
          </a:endParaRPr>
        </a:p>
      </dgm:t>
    </dgm:pt>
    <dgm:pt modelId="{D49DDD33-A70E-4673-BEF1-8CEE5BCD0F66}" type="sibTrans" cxnId="{04FB3CB5-47A0-400E-BFB3-C0BA80E6B601}">
      <dgm:prSet/>
      <dgm:spPr/>
      <dgm:t>
        <a:bodyPr/>
        <a:lstStyle/>
        <a:p>
          <a:endParaRPr lang="en-US"/>
        </a:p>
      </dgm:t>
    </dgm:pt>
    <dgm:pt modelId="{0C2DA5C0-422E-4119-A7F3-5F33B4E9AF21}" type="parTrans" cxnId="{04FB3CB5-47A0-400E-BFB3-C0BA80E6B601}">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49950"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LinFactX="7364" custLinFactNeighborX="100000" custLinFactNeighborY="28934">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1">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custLinFactX="-8482" custLinFactNeighborX="-100000" custLinFactNeighborY="3689">
        <dgm:presLayoutVars>
          <dgm:chPref val="3"/>
        </dgm:presLayoutVars>
      </dgm:prSet>
      <dgm:spPr/>
    </dgm:pt>
    <dgm:pt modelId="{6A6AE19D-B50F-4CB7-93D6-35C47B536F5F}" type="pres">
      <dgm:prSet presAssocID="{16BE57A8-444B-4ACE-971C-51039F4849F9}" presName="horzTwo"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67A0ABE2-D2B0-4A2A-B158-807EB7DE3616}" type="presParOf" srcId="{9462A209-414D-4EC6-AF5E-F3E689920139}" destId="{6A6AE19D-B50F-4CB7-93D6-35C47B536F5F}"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Individual Structured Reminders </a:t>
          </a:r>
          <a:r>
            <a:rPr lang="en-US" sz="2000"/>
            <a:t>allow a test administrator to provide a student individualized structured reminders to stay on task during state testing beyond what is required or allowed for any student during the standard administration procedures. A student may use this designated support if that student routinely and effectively uses it during classroom instruction and classroom testing.</a:t>
          </a: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r>
            <a:rPr lang="en-US" sz="2400" b="0" i="0">
              <a:solidFill>
                <a:srgbClr val="0D6CB9"/>
              </a:solidFill>
            </a:rPr>
            <a:t>This designated support includes but is not limited to:</a:t>
          </a:r>
          <a:endParaRPr lang="en-US" sz="2400">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53144"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EC213326-5D79-401F-B01C-8559968977C4}" type="pres">
      <dgm:prSet presAssocID="{6B35D56E-6707-4595-8455-BDB7BFF761EA}" presName="vertTwo" presStyleCnt="0"/>
      <dgm:spPr/>
    </dgm:pt>
    <dgm:pt modelId="{53026FD3-D35D-4DAF-95CA-E18BFE9F2B31}" type="pres">
      <dgm:prSet presAssocID="{6B35D56E-6707-4595-8455-BDB7BFF761EA}" presName="txTwo" presStyleLbl="node2" presStyleIdx="0" presStyleCnt="1" custScaleY="19635" custLinFactNeighborY="-21090">
        <dgm:presLayoutVars>
          <dgm:chPref val="3"/>
        </dgm:presLayoutVars>
      </dgm:prSet>
      <dgm:spPr/>
    </dgm:pt>
    <dgm:pt modelId="{DC34ED61-E434-4BE8-BD0E-D058BCD3C99D}" type="pres">
      <dgm:prSet presAssocID="{6B35D56E-6707-4595-8455-BDB7BFF761EA}" presName="horzTwo" presStyleCnt="0"/>
      <dgm:spPr/>
    </dgm:pt>
  </dgm:ptLst>
  <dgm:cxnLst>
    <dgm:cxn modelId="{CA174714-B228-4274-90C0-6FB6EBC30915}" type="presOf" srcId="{6B35D56E-6707-4595-8455-BDB7BFF761EA}" destId="{53026FD3-D35D-4DAF-95CA-E18BFE9F2B31}" srcOrd="0" destOrd="0" presId="urn:microsoft.com/office/officeart/2005/8/layout/hierarchy4"/>
    <dgm:cxn modelId="{477D8816-E6B6-482D-AD3A-D765D2FA96D0}" type="presOf" srcId="{5C208612-5DE7-40FD-AB85-24F5FEE384E8}" destId="{5C2742FE-7329-4DDC-BC71-07253AC9681B}" srcOrd="0" destOrd="0" presId="urn:microsoft.com/office/officeart/2005/8/layout/hierarchy4"/>
    <dgm:cxn modelId="{CAFB3D3B-2CBE-4A63-A203-199CFAEE5E70}" srcId="{5C208612-5DE7-40FD-AB85-24F5FEE384E8}" destId="{6B35D56E-6707-4595-8455-BDB7BFF761EA}" srcOrd="0" destOrd="0" parTransId="{A3CAF740-9126-445C-894A-350E014E53C0}" sibTransId="{6F774487-1E45-4AB8-8A05-838BFF338925}"/>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7E5EE00E-4A9D-4C0A-ACD8-46C61DAA02F1}" type="presParOf" srcId="{0AC39A0B-5DD0-4828-AF09-44532F324E64}" destId="{EC213326-5D79-401F-B01C-8559968977C4}" srcOrd="0" destOrd="0" presId="urn:microsoft.com/office/officeart/2005/8/layout/hierarchy4"/>
    <dgm:cxn modelId="{4263EDFD-4BE4-43E7-B28C-BA714A18D823}" type="presParOf" srcId="{EC213326-5D79-401F-B01C-8559968977C4}" destId="{53026FD3-D35D-4DAF-95CA-E18BFE9F2B31}" srcOrd="0" destOrd="0" presId="urn:microsoft.com/office/officeart/2005/8/layout/hierarchy4"/>
    <dgm:cxn modelId="{8C51A745-1F9C-4C75-AEA2-25E49BAC341D}" type="presParOf" srcId="{EC213326-5D79-401F-B01C-8559968977C4}" destId="{DC34ED61-E434-4BE8-BD0E-D058BCD3C99D}"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Individual Structured Reminders </a:t>
          </a:r>
          <a:r>
            <a:rPr lang="en-US" sz="2000" b="0"/>
            <a:t>(continued)</a:t>
          </a:r>
          <a:r>
            <a:rPr lang="en-US" sz="2000" b="1"/>
            <a:t>:</a:t>
          </a:r>
          <a:endParaRPr lang="en-US" sz="24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a:r>
            <a:rPr lang="en-US" sz="1800" b="0" i="0">
              <a:solidFill>
                <a:srgbClr val="0D6CB9"/>
              </a:solidFill>
            </a:rPr>
            <a:t>Any type of administration in which the test administrator has to view a secure state assessment requires that the test administrator sign a security oath. Responding to test questions, making notes about test questions, and discussing the content of the test at any time are </a:t>
          </a:r>
          <a:r>
            <a:rPr lang="en-US" sz="1800" b="1" i="0">
              <a:solidFill>
                <a:srgbClr val="0D6CB9"/>
              </a:solidFill>
            </a:rPr>
            <a:t>prohibited.</a:t>
          </a:r>
          <a:endParaRPr kumimoji="0" lang="en-US" sz="1800" b="1" i="0" u="none" strike="noStrike" cap="none" spc="0" normalizeH="0" baseline="0" noProof="0">
            <a:ln>
              <a:noFill/>
            </a:ln>
            <a:solidFill>
              <a:srgbClr val="0D6CB9"/>
            </a:solidFill>
            <a:effectLst/>
            <a:uLnTx/>
            <a:uFillTx/>
            <a:latin typeface="Calibri"/>
            <a:cs typeface="Calibri"/>
          </a:endParaRPr>
        </a:p>
      </dgm: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pPr rtl="0"/>
          <a:r>
            <a:rPr lang="en-US" sz="1700" b="0" i="0" dirty="0">
              <a:solidFill>
                <a:srgbClr val="0D6CB9"/>
              </a:solidFill>
            </a:rPr>
            <a:t>For </a:t>
          </a:r>
          <a:r>
            <a:rPr lang="en-US" sz="1700" b="1" i="0" dirty="0">
              <a:solidFill>
                <a:srgbClr val="0D6CB9"/>
              </a:solidFill>
              <a:latin typeface="Calibri Light" panose="020F0302020204030204"/>
            </a:rPr>
            <a:t>TELPAS grades</a:t>
          </a:r>
          <a:r>
            <a:rPr lang="en-US" sz="1700" b="1" i="0" dirty="0">
              <a:solidFill>
                <a:srgbClr val="0D6CB9"/>
              </a:solidFill>
            </a:rPr>
            <a:t> </a:t>
          </a:r>
          <a:r>
            <a:rPr lang="en-US" sz="1700" b="0" i="0" dirty="0">
              <a:solidFill>
                <a:srgbClr val="0D6CB9"/>
              </a:solidFill>
            </a:rPr>
            <a:t>2–12, these supports only apply to the online</a:t>
          </a:r>
          <a:r>
            <a:rPr lang="en-US" sz="1700" b="0" i="0" dirty="0">
              <a:solidFill>
                <a:srgbClr val="0D6CB9"/>
              </a:solidFill>
              <a:latin typeface="Calibri Light" panose="020F0302020204030204"/>
            </a:rPr>
            <a:t> reading</a:t>
          </a:r>
          <a:r>
            <a:rPr lang="en-US" sz="1700" b="0" i="0" dirty="0">
              <a:solidFill>
                <a:srgbClr val="0D6CB9"/>
              </a:solidFill>
            </a:rPr>
            <a:t> </a:t>
          </a:r>
          <a:r>
            <a:rPr lang="en-US" sz="1700" b="0" i="0" dirty="0">
              <a:solidFill>
                <a:srgbClr val="0D6CB9"/>
              </a:solidFill>
              <a:latin typeface="Calibri Light" panose="020F0302020204030204"/>
            </a:rPr>
            <a:t>and writing test, paper</a:t>
          </a:r>
          <a:r>
            <a:rPr lang="en-US" sz="1700" b="0" i="0" dirty="0">
              <a:solidFill>
                <a:srgbClr val="0D6CB9"/>
              </a:solidFill>
            </a:rPr>
            <a:t> reading test and the online listening and speaking test. They do not apply to any holistically-rated domain, since those are assessed during authentic classroom activities and the same accommodations routinely used during classroom instruction are acceptable. </a:t>
          </a:r>
          <a:endParaRPr lang="en-US" sz="1700" dirty="0">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r>
            <a:rPr lang="en-US" sz="1800" b="0" i="0">
              <a:solidFill>
                <a:srgbClr val="0D6CB9"/>
              </a:solidFill>
            </a:rPr>
            <a:t>Some students might need assistance with certain reminders (e.g., inserting paperclips, setting the timer). This is allowable; however, it is preferable that the student, rather than the test administrator, direct or control the use of the reminder when possible.</a:t>
          </a:r>
          <a:endParaRPr lang="en-US" sz="1800">
            <a:solidFill>
              <a:srgbClr val="0D6CB9"/>
            </a:solidFill>
          </a:endParaRP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custT="1"/>
      <dgm:spPr>
        <a:solidFill>
          <a:schemeClr val="bg1"/>
        </a:solidFill>
        <a:ln>
          <a:solidFill>
            <a:srgbClr val="F16038"/>
          </a:solidFill>
        </a:ln>
      </dgm:spPr>
      <dgm:t>
        <a:bodyPr/>
        <a:lstStyle/>
        <a:p>
          <a:r>
            <a:rPr lang="en-US" sz="2000" b="0" i="0">
              <a:solidFill>
                <a:srgbClr val="0D6CB9"/>
              </a:solidFill>
            </a:rPr>
            <a:t>A student who uses this designated support may complete the test in a separate setting to eliminate distractions to other students and to ensure the confidentiality of the test.</a:t>
          </a:r>
          <a:endParaRPr lang="en-US" sz="2000">
            <a:solidFill>
              <a:srgbClr val="0D6CB9"/>
            </a:solidFill>
          </a:endParaRP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49950"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LinFactX="8725" custLinFactY="99601" custLinFactNeighborX="100000" custLinFactNeighborY="100000">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1" presStyleCnt="2" custLinFactX="-8601" custLinFactY="-9871" custLinFactNeighborX="-100000" custLinFactNeighborY="-100000">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Large Print </a:t>
          </a:r>
          <a:r>
            <a:rPr lang="en-US" sz="2000" b="0"/>
            <a:t>provides a student with enlarged test materials when he or she is unable to effectively access test materials in standard print size.</a:t>
          </a: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68442" custLinFactY="-53144" custLinFactNeighborX="505" custLinFactNeighborY="-100000">
        <dgm:presLayoutVars>
          <dgm:chPref val="3"/>
        </dgm:presLayoutVars>
      </dgm:prSet>
      <dgm:spPr/>
    </dgm:pt>
    <dgm:pt modelId="{0AC39A0B-5DD0-4828-AF09-44532F324E64}" type="pres">
      <dgm:prSet presAssocID="{5C208612-5DE7-40FD-AB85-24F5FEE384E8}" presName="horzOne" presStyleCnt="0"/>
      <dgm:spPr/>
    </dgm:pt>
  </dgm:ptLst>
  <dgm:cxnLst>
    <dgm:cxn modelId="{477D8816-E6B6-482D-AD3A-D765D2FA96D0}" type="presOf" srcId="{5C208612-5DE7-40FD-AB85-24F5FEE384E8}" destId="{5C2742FE-7329-4DDC-BC71-07253AC9681B}" srcOrd="0" destOrd="0" presId="urn:microsoft.com/office/officeart/2005/8/layout/hierarchy4"/>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0B0BE099-1581-4BDC-A48E-F3850A701977}" type="presParOf" srcId="{0B5ECF28-8AD8-42A6-83E4-2EA0792223E2}" destId="{0AC39A0B-5DD0-4828-AF09-44532F324E64}"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solidFill>
                <a:schemeClr val="bg1"/>
              </a:solidFill>
            </a:rPr>
            <a:t>Large Print </a:t>
          </a:r>
          <a:r>
            <a:rPr lang="en-US" sz="2400" b="0">
              <a:solidFill>
                <a:schemeClr val="bg1"/>
              </a:solidFill>
            </a:rPr>
            <a:t>(continued):</a:t>
          </a:r>
        </a:p>
      </dgm:t>
    </dgm:pt>
    <dgm:pt modelId="{6278E673-ADC2-445E-B057-6514962C10BE}" type="parTrans" cxnId="{34EFD0C9-4A91-4FFC-A03D-28725A2A0DAF}">
      <dgm:prSet/>
      <dgm:spPr/>
      <dgm:t>
        <a:bodyPr/>
        <a:lstStyle/>
        <a:p>
          <a:endParaRPr lang="en-US">
            <a:solidFill>
              <a:srgbClr val="0D6CB9"/>
            </a:solidFill>
          </a:endParaRPr>
        </a:p>
      </dgm:t>
    </dgm:pt>
    <dgm:pt modelId="{F8CBE19A-72DB-4FCA-88ED-475F831E94BC}" type="sibTrans" cxnId="{34EFD0C9-4A91-4FFC-A03D-28725A2A0DAF}">
      <dgm:prSet/>
      <dgm:spPr/>
      <dgm:t>
        <a:bodyPr/>
        <a:lstStyle/>
        <a:p>
          <a:endParaRPr lang="en-US">
            <a:solidFill>
              <a:srgbClr val="0D6CB9"/>
            </a:solidFill>
          </a:endParaRPr>
        </a:p>
      </dgm:t>
    </dgm:pt>
    <dgm:pt modelId="{E4D1BD34-AB22-431C-8FF4-D1B722B1EBA9}">
      <dgm:prSet phldrT="[Text]" custT="1"/>
      <dgm:spPr>
        <a:solidFill>
          <a:schemeClr val="bg1"/>
        </a:solidFill>
        <a:ln>
          <a:solidFill>
            <a:srgbClr val="F16038"/>
          </a:solidFill>
        </a:ln>
      </dgm:spPr>
      <dgm:t>
        <a:bodyPr/>
        <a:lstStyle/>
        <a:p>
          <a:pPr algn="ctr" rtl="0"/>
          <a:r>
            <a:rPr kumimoji="0" lang="en-US" sz="2000" b="0" i="0" u="none" strike="noStrike" cap="none" spc="0" normalizeH="0" baseline="0" noProof="0" dirty="0">
              <a:ln>
                <a:noFill/>
              </a:ln>
              <a:solidFill>
                <a:srgbClr val="0D6CB9"/>
              </a:solidFill>
              <a:effectLst/>
              <a:uLnTx/>
              <a:uFillTx/>
              <a:latin typeface="+mn-lt"/>
              <a:cs typeface="Calibri"/>
            </a:rPr>
            <a:t>There is no preview window for large print tests.</a:t>
          </a:r>
        </a:p>
      </dgm:t>
    </dgm:pt>
    <dgm:pt modelId="{DD9370DF-338E-4433-B01F-4FAB787800FC}" type="parTrans" cxnId="{8525CE99-8B7A-42AD-B98D-40CD5A6BD29D}">
      <dgm:prSet/>
      <dgm:spPr/>
      <dgm:t>
        <a:bodyPr/>
        <a:lstStyle/>
        <a:p>
          <a:endParaRPr lang="en-US">
            <a:solidFill>
              <a:srgbClr val="0D6CB9"/>
            </a:solidFill>
          </a:endParaRPr>
        </a:p>
      </dgm:t>
    </dgm:pt>
    <dgm:pt modelId="{9EC22442-CDEE-4A74-B620-99A6314C5829}" type="sibTrans" cxnId="{8525CE99-8B7A-42AD-B98D-40CD5A6BD29D}">
      <dgm:prSet/>
      <dgm:spPr/>
      <dgm:t>
        <a:bodyPr/>
        <a:lstStyle/>
        <a:p>
          <a:endParaRPr lang="en-US">
            <a:solidFill>
              <a:srgbClr val="0D6CB9"/>
            </a:solidFill>
          </a:endParaRPr>
        </a:p>
      </dgm:t>
    </dgm:pt>
    <dgm:pt modelId="{6B35D56E-6707-4595-8455-BDB7BFF761EA}">
      <dgm:prSet phldrT="[Text]" custT="1"/>
      <dgm:spPr>
        <a:solidFill>
          <a:schemeClr val="bg1"/>
        </a:solidFill>
        <a:ln>
          <a:solidFill>
            <a:srgbClr val="F16038"/>
          </a:solidFill>
        </a:ln>
      </dgm:spPr>
      <dgm:t>
        <a:bodyPr/>
        <a:lstStyle/>
        <a:p>
          <a:r>
            <a:rPr lang="en-US" sz="1900" b="0" i="0">
              <a:solidFill>
                <a:srgbClr val="0D6CB9"/>
              </a:solidFill>
            </a:rPr>
            <a:t>Specific information about large-print test materials, including the policy for students needing a test booklet in a larger print size than produced by the state, is available in the General Instructions for Administering Large-Print State Assessments document, located on TEA’s Accommodation Resources webpage</a:t>
          </a:r>
          <a:r>
            <a:rPr lang="en-US" sz="1800" b="0" i="0">
              <a:solidFill>
                <a:srgbClr val="0D6CB9"/>
              </a:solidFill>
            </a:rPr>
            <a:t>.</a:t>
          </a:r>
          <a:endParaRPr lang="en-US" sz="1800">
            <a:solidFill>
              <a:srgbClr val="0D6CB9"/>
            </a:solidFill>
          </a:endParaRPr>
        </a:p>
      </dgm:t>
    </dgm:pt>
    <dgm:pt modelId="{A3CAF740-9126-445C-894A-350E014E53C0}" type="parTrans" cxnId="{CAFB3D3B-2CBE-4A63-A203-199CFAEE5E70}">
      <dgm:prSet/>
      <dgm:spPr/>
      <dgm:t>
        <a:bodyPr/>
        <a:lstStyle/>
        <a:p>
          <a:endParaRPr lang="en-US">
            <a:solidFill>
              <a:srgbClr val="0D6CB9"/>
            </a:solidFill>
          </a:endParaRPr>
        </a:p>
      </dgm:t>
    </dgm:pt>
    <dgm:pt modelId="{6F774487-1E45-4AB8-8A05-838BFF338925}" type="sibTrans" cxnId="{CAFB3D3B-2CBE-4A63-A203-199CFAEE5E70}">
      <dgm:prSet/>
      <dgm:spPr/>
      <dgm:t>
        <a:bodyPr/>
        <a:lstStyle/>
        <a:p>
          <a:endParaRPr lang="en-US">
            <a:solidFill>
              <a:srgbClr val="0D6CB9"/>
            </a:solidFill>
          </a:endParaRPr>
        </a:p>
      </dgm:t>
    </dgm:pt>
    <dgm:pt modelId="{16BE57A8-444B-4ACE-971C-51039F4849F9}">
      <dgm:prSet phldrT="[Text]" custT="1"/>
      <dgm:spPr>
        <a:solidFill>
          <a:schemeClr val="bg1"/>
        </a:solidFill>
        <a:ln>
          <a:solidFill>
            <a:srgbClr val="F16038"/>
          </a:solidFill>
        </a:ln>
      </dgm:spPr>
      <dgm:t>
        <a:bodyPr/>
        <a:lstStyle/>
        <a:p>
          <a:r>
            <a:rPr lang="en-US" sz="2000" b="0" i="0" dirty="0">
              <a:solidFill>
                <a:srgbClr val="0D6CB9"/>
              </a:solidFill>
            </a:rPr>
            <a:t>Student responses on large-print tests must be transcribed into DEI according to the procedures outlined in the Basic Transcribing </a:t>
          </a:r>
          <a:r>
            <a:rPr lang="en-US" sz="2000" b="1" i="0" dirty="0">
              <a:solidFill>
                <a:srgbClr val="0D6CB9"/>
              </a:solidFill>
              <a:latin typeface="Calibri Light" panose="020F0302020204030204"/>
            </a:rPr>
            <a:t>and</a:t>
          </a:r>
          <a:r>
            <a:rPr lang="en-US" sz="2000" b="1" i="0" dirty="0">
              <a:solidFill>
                <a:srgbClr val="0D6CB9"/>
              </a:solidFill>
            </a:rPr>
            <a:t> </a:t>
          </a:r>
          <a:r>
            <a:rPr lang="en-US" sz="2000" b="0" i="0" dirty="0">
              <a:solidFill>
                <a:srgbClr val="0D6CB9"/>
              </a:solidFill>
            </a:rPr>
            <a:t>Complex Transcribing policies. If this is not done, the student’s test cannot be scored.</a:t>
          </a:r>
          <a:endParaRPr lang="en-US" sz="2000" dirty="0">
            <a:solidFill>
              <a:srgbClr val="0D6CB9"/>
            </a:solidFill>
          </a:endParaRPr>
        </a:p>
      </dgm:t>
    </dgm:pt>
    <dgm:pt modelId="{0C2DA5C0-422E-4119-A7F3-5F33B4E9AF21}" type="parTrans" cxnId="{04FB3CB5-47A0-400E-BFB3-C0BA80E6B601}">
      <dgm:prSet/>
      <dgm:spPr/>
      <dgm:t>
        <a:bodyPr/>
        <a:lstStyle/>
        <a:p>
          <a:endParaRPr lang="en-US">
            <a:solidFill>
              <a:srgbClr val="0D6CB9"/>
            </a:solidFill>
          </a:endParaRPr>
        </a:p>
      </dgm:t>
    </dgm:pt>
    <dgm:pt modelId="{D49DDD33-A70E-4673-BEF1-8CEE5BCD0F66}" type="sibTrans" cxnId="{04FB3CB5-47A0-400E-BFB3-C0BA80E6B601}">
      <dgm:prSet/>
      <dgm:spPr/>
      <dgm:t>
        <a:bodyPr/>
        <a:lstStyle/>
        <a:p>
          <a:endParaRPr lang="en-US">
            <a:solidFill>
              <a:srgbClr val="0D6CB9"/>
            </a:solidFill>
          </a:endParaRPr>
        </a:p>
      </dgm:t>
    </dgm:pt>
    <dgm:pt modelId="{25302B53-6A51-4710-96F8-78ABB1DE0CA0}">
      <dgm:prSet phldrT="[Text]" custT="1"/>
      <dgm:spPr>
        <a:solidFill>
          <a:schemeClr val="bg1"/>
        </a:solidFill>
        <a:ln>
          <a:solidFill>
            <a:srgbClr val="F16038"/>
          </a:solidFill>
        </a:ln>
      </dgm:spPr>
      <dgm:t>
        <a:bodyPr/>
        <a:lstStyle/>
        <a:p>
          <a:r>
            <a:rPr lang="en-US" sz="2000" b="0" i="0">
              <a:solidFill>
                <a:srgbClr val="0D6CB9"/>
              </a:solidFill>
            </a:rPr>
            <a:t>The ordering of large-print materials will be closely monitored to ensure districts are ordering only for those students who meet the eligibility criteria. In most cases, large-print test materials should be ordered only for a student with an impairment in vision.</a:t>
          </a:r>
          <a:endParaRPr lang="en-US" sz="2000">
            <a:solidFill>
              <a:srgbClr val="0D6CB9"/>
            </a:solidFill>
          </a:endParaRPr>
        </a:p>
      </dgm:t>
    </dgm:pt>
    <dgm:pt modelId="{7BB07296-A576-47AE-9E1E-78AC60CAF7DD}" type="parTrans" cxnId="{B90A789F-4F0A-44B4-9B53-CC9676A539C2}">
      <dgm:prSet/>
      <dgm:spPr/>
      <dgm:t>
        <a:bodyPr/>
        <a:lstStyle/>
        <a:p>
          <a:endParaRPr lang="en-US">
            <a:solidFill>
              <a:srgbClr val="0D6CB9"/>
            </a:solidFill>
          </a:endParaRPr>
        </a:p>
      </dgm:t>
    </dgm:pt>
    <dgm:pt modelId="{98D58E38-4822-438A-B1F5-DB3E6F3C451E}" type="sibTrans" cxnId="{B90A789F-4F0A-44B4-9B53-CC9676A539C2}">
      <dgm:prSet/>
      <dgm:spPr/>
      <dgm:t>
        <a:bodyPr/>
        <a:lstStyle/>
        <a:p>
          <a:endParaRPr lang="en-US">
            <a:solidFill>
              <a:srgbClr val="0D6CB9"/>
            </a:solidFill>
          </a:endParaRPr>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49736"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LinFactX="8725" custLinFactY="99601" custLinFactNeighborX="100000" custLinFactNeighborY="100000">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custLinFactNeighborY="24475">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1" presStyleCnt="2" custLinFactX="-8601" custLinFactY="-9871" custLinFactNeighborX="-100000" custLinFactNeighborY="-100000">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solidFill>
                <a:schemeClr val="bg1"/>
              </a:solidFill>
            </a:rPr>
            <a:t>Manipulating Test Materials </a:t>
          </a:r>
          <a:r>
            <a:rPr lang="en-US" sz="2000" b="0" i="0">
              <a:solidFill>
                <a:schemeClr val="bg1"/>
              </a:solidFill>
            </a:rPr>
            <a:t>allows the test administrator to physically manipulate test materials, online tools, and equipment for a student who is unable to do so independently. A student may receive this support if served by an ARD committee, Section 504 committee,</a:t>
          </a:r>
          <a:r>
            <a:rPr lang="en-US" sz="2000" b="1" i="0">
              <a:solidFill>
                <a:schemeClr val="bg1"/>
              </a:solidFill>
            </a:rPr>
            <a:t> </a:t>
          </a:r>
          <a:r>
            <a:rPr lang="en-US" sz="2000" b="1" i="0" err="1">
              <a:solidFill>
                <a:schemeClr val="bg1"/>
              </a:solidFill>
              <a:latin typeface="Calibri Light" panose="020F0302020204030204"/>
            </a:rPr>
            <a:t>RtI</a:t>
          </a:r>
          <a:r>
            <a:rPr lang="en-US" sz="2000" b="0" i="0">
              <a:solidFill>
                <a:schemeClr val="bg1"/>
              </a:solidFill>
            </a:rPr>
            <a:t> committee, or student assistance team.</a:t>
          </a:r>
        </a:p>
        <a:p>
          <a:pPr algn="l"/>
          <a:endParaRPr lang="en-US" sz="2400" b="1">
            <a:solidFill>
              <a:schemeClr val="tx1"/>
            </a:solidFill>
          </a:endParaRP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a:r>
            <a:rPr lang="en-US" sz="1800" b="0" i="0">
              <a:solidFill>
                <a:srgbClr val="0D6CB9"/>
              </a:solidFill>
            </a:rPr>
            <a:t>The student must give specific directions about how the test administrator should manipulate test materials, online tools, and equipment. The test administrator may not provide feedback regarding the correctness of the student’s directions.</a:t>
          </a:r>
          <a:endParaRPr kumimoji="0" lang="en-US" sz="1800" b="0" i="0" u="none" strike="noStrike" cap="none" spc="0" normalizeH="0" baseline="0" noProof="0">
            <a:ln>
              <a:noFill/>
            </a:ln>
            <a:solidFill>
              <a:srgbClr val="0D6CB9"/>
            </a:solidFill>
            <a:effectLst/>
            <a:uLnTx/>
            <a:uFillTx/>
            <a:latin typeface="Calibri"/>
            <a:cs typeface="Calibri"/>
          </a:endParaRPr>
        </a:p>
      </dgm: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pPr>
            <a:buClr>
              <a:srgbClr val="FF8134"/>
            </a:buClr>
            <a:buSzTx/>
            <a:buFont typeface="Wingdings" panose="05000000000000000000" pitchFamily="2" charset="2"/>
            <a:buChar char="§"/>
          </a:pPr>
          <a:r>
            <a:rPr kumimoji="0" lang="en-US" sz="2000" b="0" i="0" u="none" strike="noStrike" cap="none" spc="0" normalizeH="0" baseline="0" noProof="0">
              <a:ln>
                <a:noFill/>
              </a:ln>
              <a:solidFill>
                <a:srgbClr val="0D6CB9"/>
              </a:solidFill>
              <a:effectLst/>
              <a:uLnTx/>
              <a:uFillTx/>
              <a:latin typeface="Calibri"/>
              <a:cs typeface="Calibri"/>
            </a:rPr>
            <a:t>Eligibility </a:t>
          </a:r>
          <a:r>
            <a:rPr lang="en-US" sz="2000">
              <a:solidFill>
                <a:srgbClr val="0D6CB9"/>
              </a:solidFill>
              <a:latin typeface="Calibri"/>
              <a:cs typeface="Calibri"/>
            </a:rPr>
            <a:t>includes</a:t>
          </a:r>
          <a:r>
            <a:rPr kumimoji="0" lang="en-US" sz="2000" b="0" i="0" u="none" strike="noStrike" cap="none" spc="0" normalizeH="0" baseline="0" noProof="0">
              <a:ln>
                <a:noFill/>
              </a:ln>
              <a:solidFill>
                <a:srgbClr val="0D6CB9"/>
              </a:solidFill>
              <a:effectLst/>
              <a:uLnTx/>
              <a:uFillTx/>
              <a:latin typeface="Calibri"/>
              <a:cs typeface="Calibri"/>
            </a:rPr>
            <a:t> routinely and effectively uses the support in classroom instruction and testing</a:t>
          </a:r>
          <a:r>
            <a:rPr lang="en-US" sz="2000">
              <a:solidFill>
                <a:srgbClr val="0D6CB9"/>
              </a:solidFill>
              <a:latin typeface="Calibri"/>
              <a:cs typeface="Calibri"/>
            </a:rPr>
            <a:t>.</a:t>
          </a:r>
          <a:endParaRPr lang="en-US" sz="2000">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pPr rtl="0">
            <a:buClr>
              <a:srgbClr val="FF8134"/>
            </a:buClr>
            <a:buSzTx/>
            <a:buFont typeface="Wingdings" panose="05000000000000000000" pitchFamily="2" charset="2"/>
            <a:buChar char="§"/>
          </a:pPr>
          <a:r>
            <a:rPr kumimoji="0" lang="en-US" sz="2000" b="0" i="0" u="none" strike="noStrike" cap="none" spc="0" normalizeH="0" baseline="0" noProof="0">
              <a:ln>
                <a:noFill/>
              </a:ln>
              <a:solidFill>
                <a:srgbClr val="0D6CB9"/>
              </a:solidFill>
              <a:effectLst/>
              <a:uLnTx/>
              <a:uFillTx/>
              <a:latin typeface="Calibri"/>
              <a:cs typeface="Calibri"/>
            </a:rPr>
            <a:t>If a student is an EB student with a disability, the decision is made by the ARD committee in conjunction with the student’s LPAC.</a:t>
          </a:r>
          <a:endParaRPr lang="en-US" sz="2000">
            <a:solidFill>
              <a:srgbClr val="0D6CB9"/>
            </a:solidFill>
          </a:endParaRP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custT="1"/>
      <dgm:spPr>
        <a:solidFill>
          <a:schemeClr val="bg1"/>
        </a:solidFill>
        <a:ln>
          <a:solidFill>
            <a:srgbClr val="F16038"/>
          </a:solidFill>
        </a:ln>
      </dgm:spPr>
      <dgm:t>
        <a:bodyPr/>
        <a:lstStyle/>
        <a:p>
          <a:pPr>
            <a:buClr>
              <a:srgbClr val="FF8134"/>
            </a:buClr>
            <a:buSzTx/>
            <a:buFont typeface="Wingdings" panose="05000000000000000000" pitchFamily="2" charset="2"/>
            <a:buChar char="§"/>
          </a:pPr>
          <a:r>
            <a:rPr kumimoji="0" lang="en-US" sz="2000" b="0" i="0" u="none" strike="noStrike" cap="none" spc="0" normalizeH="0" baseline="0" noProof="0" dirty="0">
              <a:ln>
                <a:noFill/>
              </a:ln>
              <a:solidFill>
                <a:srgbClr val="0D6CB9"/>
              </a:solidFill>
              <a:effectLst/>
              <a:uLnTx/>
              <a:uFillTx/>
              <a:latin typeface="Calibri"/>
              <a:cs typeface="Calibri"/>
            </a:rPr>
            <a:t>If the student is not receiving special education or Section 504 services, the decision should be based on consistent academic struggles in the specific area even after intensive instruction and remediation.</a:t>
          </a:r>
          <a:endParaRPr lang="en-US" sz="2000" dirty="0">
            <a:solidFill>
              <a:srgbClr val="0D6CB9"/>
            </a:solidFill>
          </a:endParaRP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LinFactX="8848" custLinFactY="99601" custLinFactNeighborX="100000" custLinFactNeighborY="100000">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1" presStyleCnt="2" custLinFactX="-8601" custLinFactY="-9871" custLinFactNeighborX="-100000" custLinFactNeighborY="-100000">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solidFill>
                <a:schemeClr val="bg1"/>
              </a:solidFill>
            </a:rPr>
            <a:t>Manipulating Test Materials </a:t>
          </a:r>
          <a:r>
            <a:rPr lang="en-US" sz="2400" b="0">
              <a:solidFill>
                <a:schemeClr val="bg1"/>
              </a:solidFill>
            </a:rPr>
            <a:t>(continued):</a:t>
          </a:r>
          <a:endParaRPr lang="en-US" sz="2400" b="0">
            <a:solidFill>
              <a:schemeClr val="tx1"/>
            </a:solidFill>
          </a:endParaRP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LinFactY="-53144" custLinFactNeighborX="505" custLinFactNeighborY="-100000">
        <dgm:presLayoutVars>
          <dgm:chPref val="3"/>
        </dgm:presLayoutVars>
      </dgm:prSet>
      <dgm:spPr/>
    </dgm:pt>
    <dgm:pt modelId="{0AC39A0B-5DD0-4828-AF09-44532F324E64}" type="pres">
      <dgm:prSet presAssocID="{5C208612-5DE7-40FD-AB85-24F5FEE384E8}" presName="horzOne" presStyleCnt="0"/>
      <dgm:spPr/>
    </dgm:pt>
  </dgm:ptLst>
  <dgm:cxnLst>
    <dgm:cxn modelId="{477D8816-E6B6-482D-AD3A-D765D2FA96D0}" type="presOf" srcId="{5C208612-5DE7-40FD-AB85-24F5FEE384E8}" destId="{5C2742FE-7329-4DDC-BC71-07253AC9681B}" srcOrd="0" destOrd="0" presId="urn:microsoft.com/office/officeart/2005/8/layout/hierarchy4"/>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0B0BE099-1581-4BDC-A48E-F3850A701977}" type="presParOf" srcId="{0B5ECF28-8AD8-42A6-83E4-2EA0792223E2}" destId="{0AC39A0B-5DD0-4828-AF09-44532F324E64}"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rtl="0"/>
          <a:r>
            <a:rPr lang="en-US" sz="2400" b="1"/>
            <a:t>Mathematics </a:t>
          </a:r>
          <a:r>
            <a:rPr lang="en-US" sz="2400" b="1">
              <a:solidFill>
                <a:schemeClr val="bg1"/>
              </a:solidFill>
            </a:rPr>
            <a:t>Manipulatives </a:t>
          </a:r>
          <a:r>
            <a:rPr lang="en-US" sz="2000" b="0" i="0">
              <a:solidFill>
                <a:schemeClr val="bg1"/>
              </a:solidFill>
              <a:effectLst/>
              <a:latin typeface="-apple-system"/>
            </a:rPr>
            <a:t>supports are concrete objects or pictures of concrete objects for a student to move and touch in order to visualize abstract concepts. </a:t>
          </a:r>
          <a:endParaRPr lang="en-US" sz="2000" b="1">
            <a:solidFill>
              <a:schemeClr val="bg1"/>
            </a:solidFill>
          </a:endParaRP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r>
            <a:rPr lang="en-US" sz="1700" b="0" i="0">
              <a:solidFill>
                <a:srgbClr val="0D6CB9"/>
              </a:solidFill>
            </a:rPr>
            <a:t>Using mathematics manipulatives as an accommodation during classroom instruction and classroom testing should not replace the teaching of subject-specific skills as outlined in the TEKS. The student </a:t>
          </a:r>
          <a:r>
            <a:rPr lang="en-US" sz="1700" b="1" i="0">
              <a:solidFill>
                <a:srgbClr val="0D6CB9"/>
              </a:solidFill>
            </a:rPr>
            <a:t>must</a:t>
          </a:r>
          <a:r>
            <a:rPr lang="en-US" sz="1700" b="0" i="0">
              <a:solidFill>
                <a:srgbClr val="0D6CB9"/>
              </a:solidFill>
            </a:rPr>
            <a:t> be able to understand the information that the mathematics manipulatives provide and simply need assistance recalling or visualizing the concepts.</a:t>
          </a:r>
          <a:endParaRPr lang="en-US" sz="1700">
            <a:solidFill>
              <a:srgbClr val="0D6CB9"/>
            </a:solidFill>
          </a:endParaRP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custT="1"/>
      <dgm:spPr>
        <a:solidFill>
          <a:schemeClr val="bg1"/>
        </a:solidFill>
        <a:ln>
          <a:solidFill>
            <a:srgbClr val="F16038"/>
          </a:solidFill>
        </a:ln>
      </dgm:spPr>
      <dgm:t>
        <a:bodyPr/>
        <a:lstStyle/>
        <a:p>
          <a:r>
            <a:rPr lang="en-US" sz="2000">
              <a:solidFill>
                <a:srgbClr val="0D6CB9"/>
              </a:solidFill>
              <a:effectLst/>
              <a:latin typeface="Calibri"/>
              <a:ea typeface="Calibri" panose="020F0502020204030204" pitchFamily="34" charset="0"/>
              <a:cs typeface="Times New Roman"/>
            </a:rPr>
            <a:t>For a student who meets the eligibility criteria, this designated support may be used on STAAR grades 3–8 mathematics, Algebra I, and STAAR Spanish grades 3–5 mathematics.</a:t>
          </a: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6B35D56E-6707-4595-8455-BDB7BFF761EA}">
      <dgm:prSet phldrT="[Text]" custT="1"/>
      <dgm:spPr>
        <a:solidFill>
          <a:schemeClr val="bg1"/>
        </a:solidFill>
        <a:ln>
          <a:solidFill>
            <a:schemeClr val="bg1"/>
          </a:solidFill>
        </a:ln>
      </dgm:spPr>
      <dgm:t>
        <a:bodyPr/>
        <a:lstStyle/>
        <a:p>
          <a:pPr>
            <a:buClr>
              <a:srgbClr val="FF8134"/>
            </a:buClr>
            <a:buSzTx/>
            <a:buFont typeface="Wingdings" panose="05000000000000000000" pitchFamily="2" charset="2"/>
            <a:buChar char="§"/>
          </a:pPr>
          <a:endParaRPr lang="en-US" sz="2000">
            <a:solidFill>
              <a:schemeClr val="tx1"/>
            </a:solidFill>
          </a:endParaRPr>
        </a:p>
      </dgm:t>
    </dgm:pt>
    <dgm:pt modelId="{6F774487-1E45-4AB8-8A05-838BFF338925}" type="sibTrans" cxnId="{CAFB3D3B-2CBE-4A63-A203-199CFAEE5E70}">
      <dgm:prSet/>
      <dgm:spPr/>
      <dgm:t>
        <a:bodyPr/>
        <a:lstStyle/>
        <a:p>
          <a:endParaRPr lang="en-US"/>
        </a:p>
      </dgm:t>
    </dgm:pt>
    <dgm:pt modelId="{A3CAF740-9126-445C-894A-350E014E53C0}" type="parTrans" cxnId="{CAFB3D3B-2CBE-4A63-A203-199CFAEE5E70}">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44716"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FB6A33BF-CE91-4626-8703-20CA44906A9F}" type="pres">
      <dgm:prSet presAssocID="{6B35D56E-6707-4595-8455-BDB7BFF761EA}" presName="vertTwo" presStyleCnt="0"/>
      <dgm:spPr/>
    </dgm:pt>
    <dgm:pt modelId="{C176959A-E696-410B-9B6D-0563C0A14D03}" type="pres">
      <dgm:prSet presAssocID="{6B35D56E-6707-4595-8455-BDB7BFF761EA}" presName="txTwo" presStyleLbl="node2" presStyleIdx="0" presStyleCnt="2">
        <dgm:presLayoutVars>
          <dgm:chPref val="3"/>
        </dgm:presLayoutVars>
      </dgm:prSet>
      <dgm:spPr/>
    </dgm:pt>
    <dgm:pt modelId="{84C25527-255B-4004-AB90-A02D1E865070}" type="pres">
      <dgm:prSet presAssocID="{6B35D56E-6707-4595-8455-BDB7BFF761EA}" presName="horzTwo" presStyleCnt="0"/>
      <dgm:spPr/>
    </dgm:pt>
    <dgm:pt modelId="{6C414894-A369-48CA-B70F-F95870860B78}" type="pres">
      <dgm:prSet presAssocID="{6F774487-1E45-4AB8-8A05-838BFF338925}"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custScaleY="66793" custLinFactNeighborX="251" custLinFactNeighborY="-74892">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0" presStyleCnt="1" custScaleX="105491" custScaleY="64900" custLinFactX="-7775" custLinFactNeighborX="-100000" custLinFactNeighborY="-89338">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5C208612-5DE7-40FD-AB85-24F5FEE384E8}" destId="{6B35D56E-6707-4595-8455-BDB7BFF761EA}" srcOrd="0" destOrd="0" parTransId="{A3CAF740-9126-445C-894A-350E014E53C0}" sibTransId="{6F774487-1E45-4AB8-8A05-838BFF338925}"/>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032167CB-6690-48F7-8B68-8B77CABE6096}" type="presOf" srcId="{6B35D56E-6707-4595-8455-BDB7BFF761EA}" destId="{C176959A-E696-410B-9B6D-0563C0A14D03}" srcOrd="0" destOrd="0" presId="urn:microsoft.com/office/officeart/2005/8/layout/hierarchy4"/>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5AA50893-4218-4FDA-B076-AAE19EBF6F2D}" type="presParOf" srcId="{0AC39A0B-5DD0-4828-AF09-44532F324E64}" destId="{FB6A33BF-CE91-4626-8703-20CA44906A9F}" srcOrd="0" destOrd="0" presId="urn:microsoft.com/office/officeart/2005/8/layout/hierarchy4"/>
    <dgm:cxn modelId="{04BCCC98-75EF-4408-965D-E52F3802AB55}" type="presParOf" srcId="{FB6A33BF-CE91-4626-8703-20CA44906A9F}" destId="{C176959A-E696-410B-9B6D-0563C0A14D03}" srcOrd="0" destOrd="0" presId="urn:microsoft.com/office/officeart/2005/8/layout/hierarchy4"/>
    <dgm:cxn modelId="{812B5383-797C-46C3-873F-3D50683E41EA}" type="presParOf" srcId="{FB6A33BF-CE91-4626-8703-20CA44906A9F}" destId="{84C25527-255B-4004-AB90-A02D1E865070}" srcOrd="1" destOrd="0" presId="urn:microsoft.com/office/officeart/2005/8/layout/hierarchy4"/>
    <dgm:cxn modelId="{D5F6B669-E985-420C-9584-9FA3E91D5B37}" type="presParOf" srcId="{0AC39A0B-5DD0-4828-AF09-44532F324E64}" destId="{6C414894-A369-48CA-B70F-F95870860B78}"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Mathematics </a:t>
          </a:r>
          <a:r>
            <a:rPr lang="en-US" sz="2400" b="1">
              <a:solidFill>
                <a:schemeClr val="bg1"/>
              </a:solidFill>
            </a:rPr>
            <a:t>Manipulatives </a:t>
          </a:r>
          <a:r>
            <a:rPr lang="en-US" sz="2000" b="0" i="0">
              <a:solidFill>
                <a:schemeClr val="bg1"/>
              </a:solidFill>
              <a:effectLst/>
              <a:latin typeface="-apple-system"/>
            </a:rPr>
            <a:t>(continued):</a:t>
          </a:r>
          <a:endParaRPr lang="en-US" sz="2000" b="1">
            <a:solidFill>
              <a:schemeClr val="bg1"/>
            </a:solidFill>
          </a:endParaRP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6B35D56E-6707-4595-8455-BDB7BFF761EA}">
      <dgm:prSet phldrT="[Text]" custT="1"/>
      <dgm:spPr>
        <a:solidFill>
          <a:schemeClr val="bg1"/>
        </a:solidFill>
        <a:ln>
          <a:solidFill>
            <a:schemeClr val="bg1"/>
          </a:solidFill>
        </a:ln>
      </dgm:spPr>
      <dgm:t>
        <a:bodyPr/>
        <a:lstStyle/>
        <a:p>
          <a:pPr>
            <a:buClr>
              <a:srgbClr val="FF8134"/>
            </a:buClr>
            <a:buSzTx/>
            <a:buFont typeface="Wingdings" panose="05000000000000000000" pitchFamily="2" charset="2"/>
            <a:buChar char="§"/>
          </a:pPr>
          <a:endParaRPr lang="en-US" sz="2000">
            <a:solidFill>
              <a:schemeClr val="tx1"/>
            </a:solidFill>
          </a:endParaRPr>
        </a:p>
      </dgm:t>
    </dgm:pt>
    <dgm:pt modelId="{6F774487-1E45-4AB8-8A05-838BFF338925}" type="sibTrans" cxnId="{CAFB3D3B-2CBE-4A63-A203-199CFAEE5E70}">
      <dgm:prSet/>
      <dgm:spPr/>
      <dgm:t>
        <a:bodyPr/>
        <a:lstStyle/>
        <a:p>
          <a:endParaRPr lang="en-US"/>
        </a:p>
      </dgm:t>
    </dgm:pt>
    <dgm:pt modelId="{A3CAF740-9126-445C-894A-350E014E53C0}" type="parTrans" cxnId="{CAFB3D3B-2CBE-4A63-A203-199CFAEE5E70}">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23321"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FB6A33BF-CE91-4626-8703-20CA44906A9F}" type="pres">
      <dgm:prSet presAssocID="{6B35D56E-6707-4595-8455-BDB7BFF761EA}" presName="vertTwo" presStyleCnt="0"/>
      <dgm:spPr/>
    </dgm:pt>
    <dgm:pt modelId="{C176959A-E696-410B-9B6D-0563C0A14D03}" type="pres">
      <dgm:prSet presAssocID="{6B35D56E-6707-4595-8455-BDB7BFF761EA}" presName="txTwo" presStyleLbl="node2" presStyleIdx="0" presStyleCnt="1">
        <dgm:presLayoutVars>
          <dgm:chPref val="3"/>
        </dgm:presLayoutVars>
      </dgm:prSet>
      <dgm:spPr/>
    </dgm:pt>
    <dgm:pt modelId="{84C25527-255B-4004-AB90-A02D1E865070}" type="pres">
      <dgm:prSet presAssocID="{6B35D56E-6707-4595-8455-BDB7BFF761EA}" presName="horzTwo"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5C208612-5DE7-40FD-AB85-24F5FEE384E8}" destId="{6B35D56E-6707-4595-8455-BDB7BFF761EA}" srcOrd="0" destOrd="0" parTransId="{A3CAF740-9126-445C-894A-350E014E53C0}" sibTransId="{6F774487-1E45-4AB8-8A05-838BFF338925}"/>
    <dgm:cxn modelId="{34EFD0C9-4A91-4FFC-A03D-28725A2A0DAF}" srcId="{29640B64-F787-42C6-896F-579E7EF0E3E7}" destId="{5C208612-5DE7-40FD-AB85-24F5FEE384E8}" srcOrd="0" destOrd="0" parTransId="{6278E673-ADC2-445E-B057-6514962C10BE}" sibTransId="{F8CBE19A-72DB-4FCA-88ED-475F831E94BC}"/>
    <dgm:cxn modelId="{032167CB-6690-48F7-8B68-8B77CABE6096}" type="presOf" srcId="{6B35D56E-6707-4595-8455-BDB7BFF761EA}" destId="{C176959A-E696-410B-9B6D-0563C0A14D0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5AA50893-4218-4FDA-B076-AAE19EBF6F2D}" type="presParOf" srcId="{0AC39A0B-5DD0-4828-AF09-44532F324E64}" destId="{FB6A33BF-CE91-4626-8703-20CA44906A9F}" srcOrd="0" destOrd="0" presId="urn:microsoft.com/office/officeart/2005/8/layout/hierarchy4"/>
    <dgm:cxn modelId="{04BCCC98-75EF-4408-965D-E52F3802AB55}" type="presParOf" srcId="{FB6A33BF-CE91-4626-8703-20CA44906A9F}" destId="{C176959A-E696-410B-9B6D-0563C0A14D03}" srcOrd="0" destOrd="0" presId="urn:microsoft.com/office/officeart/2005/8/layout/hierarchy4"/>
    <dgm:cxn modelId="{812B5383-797C-46C3-873F-3D50683E41EA}" type="presParOf" srcId="{FB6A33BF-CE91-4626-8703-20CA44906A9F}" destId="{84C25527-255B-4004-AB90-A02D1E865070}"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lstStyle/>
        <a:p>
          <a:pPr algn="l"/>
          <a:r>
            <a:rPr lang="en-US" sz="2400" b="1"/>
            <a:t>Oral/Signed Administration </a:t>
          </a:r>
          <a:r>
            <a:rPr lang="en-US" sz="2000" b="0" i="0"/>
            <a:t>support allows test material to be read aloud or signed to a student. All references to reading support during an oral administration also apply to oral interpretation (e.g., lip reading) and signing during a signed administration. An online oral/signed administration is administered via text-to-speech (TTS) or American Sign Language (ASL) videos.</a:t>
          </a:r>
          <a:endParaRPr lang="en-US" sz="2000" b="1">
            <a:solidFill>
              <a:schemeClr val="tx1"/>
            </a:solidFill>
          </a:endParaRP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a:r>
            <a:rPr lang="en-US" sz="1800" b="0" i="0">
              <a:solidFill>
                <a:srgbClr val="0D6CB9"/>
              </a:solidFill>
            </a:rPr>
            <a:t>TTS is offered as an online option for oral administration. The TTS tool allows a student to independently select and change his or her level of reading support during the test administration. Students can also be registered for “automatic TTS” which will ensure all eligible parts of the test are read aloud. </a:t>
          </a:r>
          <a:endParaRPr kumimoji="0" lang="en-US" sz="1800" b="0" i="0" u="none" strike="noStrike" cap="none" spc="0" normalizeH="0" baseline="0" noProof="0">
            <a:ln>
              <a:noFill/>
            </a:ln>
            <a:solidFill>
              <a:srgbClr val="0D6CB9"/>
            </a:solidFill>
            <a:effectLst/>
            <a:uLnTx/>
            <a:uFillTx/>
            <a:latin typeface="Calibri"/>
            <a:cs typeface="Calibri"/>
          </a:endParaRPr>
        </a:p>
      </dgm: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r>
            <a:rPr lang="en-US" sz="2000" b="0" i="0">
              <a:solidFill>
                <a:srgbClr val="0D6CB9"/>
              </a:solidFill>
            </a:rPr>
            <a:t>Several types of oral administration are available. All guidelines for providing an oral administration apply to paper tests, braille tests, and online tests. </a:t>
          </a:r>
          <a:endParaRPr lang="en-US" sz="2000">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r>
            <a:rPr lang="en-US" sz="1900" b="0" i="0">
              <a:solidFill>
                <a:srgbClr val="0D6CB9"/>
              </a:solidFill>
            </a:rPr>
            <a:t>Test administrators must be trained in the procedures specific to an oral administration. Guidelines can be found in the </a:t>
          </a:r>
          <a:r>
            <a:rPr lang="en-US" sz="1900" b="0" i="1">
              <a:solidFill>
                <a:srgbClr val="0D6CB9"/>
              </a:solidFill>
            </a:rPr>
            <a:t>STAAR Oral and Signed Administrations Educator Guide </a:t>
          </a:r>
          <a:r>
            <a:rPr lang="en-US" sz="1900" b="0" i="0">
              <a:solidFill>
                <a:srgbClr val="0D6CB9"/>
              </a:solidFill>
            </a:rPr>
            <a:t>document located on the Accommodation Resources webpage.</a:t>
          </a:r>
          <a:endParaRPr lang="en-US" sz="1900">
            <a:solidFill>
              <a:srgbClr val="0D6CB9"/>
            </a:solidFill>
          </a:endParaRP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custT="1"/>
      <dgm:spPr>
        <a:solidFill>
          <a:schemeClr val="bg1"/>
        </a:solidFill>
        <a:ln>
          <a:solidFill>
            <a:srgbClr val="F16038"/>
          </a:solidFill>
        </a:ln>
      </dgm:spPr>
      <dgm:t>
        <a:bodyPr/>
        <a:lstStyle/>
        <a:p>
          <a:r>
            <a:rPr lang="en-US" sz="1850" b="0" i="0">
              <a:solidFill>
                <a:srgbClr val="0D6CB9"/>
              </a:solidFill>
              <a:effectLst/>
              <a:latin typeface="-apple-system"/>
            </a:rPr>
            <a:t>Oral administration can include different levels of reading support for each eligible student. The test administrator may read parts of the test questions and answer choices at student request or read all test questions and answer choices throughout the test. </a:t>
          </a:r>
          <a:endParaRPr lang="en-US" sz="1850">
            <a:solidFill>
              <a:srgbClr val="0D6CB9"/>
            </a:solidFill>
          </a:endParaRP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LinFactX="8848" custLinFactY="99601" custLinFactNeighborX="100000" custLinFactNeighborY="100000">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1" presStyleCnt="2" custLinFactX="-8601" custLinFactY="-9871" custLinFactNeighborX="-100000" custLinFactNeighborY="-100000">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55EA2FE-28B5-4A7E-847C-BB334CA94536}"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US"/>
        </a:p>
      </dgm:t>
    </dgm:pt>
    <dgm:pt modelId="{322E8F6A-D12B-4C79-9EC9-655E042A16B1}">
      <dgm:prSet phldrT="[Text]" custT="1"/>
      <dgm:spPr>
        <a:solidFill>
          <a:schemeClr val="bg1">
            <a:lumMod val="95000"/>
          </a:schemeClr>
        </a:solidFill>
        <a:ln w="31750">
          <a:solidFill>
            <a:schemeClr val="accent2"/>
          </a:solidFill>
        </a:ln>
      </dgm:spPr>
      <dgm:t>
        <a:bodyPr/>
        <a:lstStyle/>
        <a:p>
          <a:pPr algn="ctr"/>
          <a:r>
            <a:rPr lang="en-US" sz="3200" b="1">
              <a:solidFill>
                <a:schemeClr val="accent1"/>
              </a:solidFill>
            </a:rPr>
            <a:t>Accommodation considerations may benefit any student who:</a:t>
          </a:r>
        </a:p>
      </dgm:t>
    </dgm:pt>
    <dgm:pt modelId="{E219999C-6EA8-46ED-8548-81D24F41D050}" type="parTrans" cxnId="{8D32C050-DA31-48A6-BC11-6E76330B0045}">
      <dgm:prSet/>
      <dgm:spPr/>
      <dgm:t>
        <a:bodyPr/>
        <a:lstStyle/>
        <a:p>
          <a:endParaRPr lang="en-US"/>
        </a:p>
      </dgm:t>
    </dgm:pt>
    <dgm:pt modelId="{70F0DE8D-1F7C-4E8D-B79C-CA9697E5804B}" type="sibTrans" cxnId="{8D32C050-DA31-48A6-BC11-6E76330B0045}">
      <dgm:prSet/>
      <dgm:spPr/>
      <dgm:t>
        <a:bodyPr/>
        <a:lstStyle/>
        <a:p>
          <a:endParaRPr lang="en-US"/>
        </a:p>
      </dgm:t>
    </dgm:pt>
    <dgm:pt modelId="{3F210E4F-EB6D-4EBC-BFB0-2BF0CE40390A}">
      <dgm:prSet phldrT="[Text]" custT="1"/>
      <dgm:spPr>
        <a:solidFill>
          <a:schemeClr val="accent1"/>
        </a:solidFill>
      </dgm:spPr>
      <dgm:t>
        <a:bodyPr/>
        <a:lstStyle/>
        <a:p>
          <a:r>
            <a:rPr lang="en-US" sz="2000" dirty="0"/>
            <a:t>routinely and effectively uses the support during classroom instruction and testing</a:t>
          </a:r>
          <a:endParaRPr lang="en-US" sz="2400" dirty="0"/>
        </a:p>
      </dgm:t>
    </dgm:pt>
    <dgm:pt modelId="{8400A6D7-D476-4329-BDBB-92B67F681FF4}" type="parTrans" cxnId="{5F72BFBF-2FED-40AD-A5B2-614D0D692A4E}">
      <dgm:prSet/>
      <dgm:spPr/>
      <dgm:t>
        <a:bodyPr/>
        <a:lstStyle/>
        <a:p>
          <a:endParaRPr lang="en-US"/>
        </a:p>
      </dgm:t>
    </dgm:pt>
    <dgm:pt modelId="{BE2897B5-0DFE-4E55-904D-A3978A603DB7}" type="sibTrans" cxnId="{5F72BFBF-2FED-40AD-A5B2-614D0D692A4E}">
      <dgm:prSet/>
      <dgm:spPr/>
      <dgm:t>
        <a:bodyPr/>
        <a:lstStyle/>
        <a:p>
          <a:endParaRPr lang="en-US"/>
        </a:p>
      </dgm:t>
    </dgm:pt>
    <dgm:pt modelId="{A7A84FCF-C202-40AA-B1D0-AE8DE4AA8B91}">
      <dgm:prSet phldrT="[Text]" custT="1"/>
      <dgm:spPr>
        <a:solidFill>
          <a:schemeClr val="accent1"/>
        </a:solidFill>
      </dgm:spPr>
      <dgm:t>
        <a:bodyPr/>
        <a:lstStyle/>
        <a:p>
          <a:r>
            <a:rPr lang="en-US" sz="2000"/>
            <a:t>is served by a 504 committee</a:t>
          </a:r>
        </a:p>
      </dgm:t>
    </dgm:pt>
    <dgm:pt modelId="{A333842C-A53B-411C-9AB1-8C18CCC99A19}" type="parTrans" cxnId="{37DBADCE-958C-424E-AB14-98C7A1FECB21}">
      <dgm:prSet/>
      <dgm:spPr/>
      <dgm:t>
        <a:bodyPr/>
        <a:lstStyle/>
        <a:p>
          <a:endParaRPr lang="en-US"/>
        </a:p>
      </dgm:t>
    </dgm:pt>
    <dgm:pt modelId="{995F3650-C2A5-4E36-A230-B68473A0E336}" type="sibTrans" cxnId="{37DBADCE-958C-424E-AB14-98C7A1FECB21}">
      <dgm:prSet/>
      <dgm:spPr/>
      <dgm:t>
        <a:bodyPr/>
        <a:lstStyle/>
        <a:p>
          <a:endParaRPr lang="en-US"/>
        </a:p>
      </dgm:t>
    </dgm:pt>
    <dgm:pt modelId="{30064B71-411F-404F-8A6D-B945B7440390}">
      <dgm:prSet phldrT="[Text]" custT="1"/>
      <dgm:spPr>
        <a:solidFill>
          <a:schemeClr val="accent1"/>
        </a:solidFill>
      </dgm:spPr>
      <dgm:t>
        <a:bodyPr/>
        <a:lstStyle/>
        <a:p>
          <a:r>
            <a:rPr lang="en-US" sz="2000"/>
            <a:t>is served by an ARD committee</a:t>
          </a:r>
        </a:p>
      </dgm:t>
    </dgm:pt>
    <dgm:pt modelId="{E9A10D65-E1D3-4030-9FEC-3A18A881670E}" type="parTrans" cxnId="{0AAC3E12-7856-4E79-A7C2-B54D507F692B}">
      <dgm:prSet/>
      <dgm:spPr/>
      <dgm:t>
        <a:bodyPr/>
        <a:lstStyle/>
        <a:p>
          <a:endParaRPr lang="en-US"/>
        </a:p>
      </dgm:t>
    </dgm:pt>
    <dgm:pt modelId="{CB676A5D-7018-4075-85D4-DF0AF1C24CB2}" type="sibTrans" cxnId="{0AAC3E12-7856-4E79-A7C2-B54D507F692B}">
      <dgm:prSet/>
      <dgm:spPr/>
      <dgm:t>
        <a:bodyPr/>
        <a:lstStyle/>
        <a:p>
          <a:endParaRPr lang="en-US"/>
        </a:p>
      </dgm:t>
    </dgm:pt>
    <dgm:pt modelId="{6C087A51-74F5-4E3A-9FE8-55F7C96B618E}">
      <dgm:prSet phldrT="[Text]" custT="1"/>
      <dgm:spPr/>
      <dgm:t>
        <a:bodyPr/>
        <a:lstStyle/>
        <a:p>
          <a:pPr rtl="0"/>
          <a:r>
            <a:rPr lang="en-US" sz="2000"/>
            <a:t>requires the use of an accessibility feature or designated support in an unexpected or emergency situation</a:t>
          </a:r>
          <a:r>
            <a:rPr lang="en-US" sz="2000">
              <a:latin typeface="Calibri Light" panose="020F0302020204030204"/>
            </a:rPr>
            <a:t>  </a:t>
          </a:r>
          <a:endParaRPr lang="en-US" sz="2000"/>
        </a:p>
      </dgm:t>
    </dgm:pt>
    <dgm:pt modelId="{499D5313-004E-4CB9-997E-87942D1D12FE}" type="parTrans" cxnId="{EEF7CBDD-B8AD-45CC-866F-72568FC82BDE}">
      <dgm:prSet/>
      <dgm:spPr/>
      <dgm:t>
        <a:bodyPr/>
        <a:lstStyle/>
        <a:p>
          <a:endParaRPr lang="en-US"/>
        </a:p>
      </dgm:t>
    </dgm:pt>
    <dgm:pt modelId="{766DDB41-4D21-422D-929D-540591D032F2}" type="sibTrans" cxnId="{EEF7CBDD-B8AD-45CC-866F-72568FC82BDE}">
      <dgm:prSet/>
      <dgm:spPr/>
      <dgm:t>
        <a:bodyPr/>
        <a:lstStyle/>
        <a:p>
          <a:endParaRPr lang="en-US"/>
        </a:p>
      </dgm:t>
    </dgm:pt>
    <dgm:pt modelId="{C2F07E18-E664-4A75-88FC-E14281486EC5}">
      <dgm:prSet phldrT="[Text]" custT="1"/>
      <dgm:spPr/>
      <dgm:t>
        <a:bodyPr/>
        <a:lstStyle/>
        <a:p>
          <a:r>
            <a:rPr lang="en-US" sz="2000"/>
            <a:t>is served by an LPAC committee</a:t>
          </a:r>
        </a:p>
      </dgm:t>
    </dgm:pt>
    <dgm:pt modelId="{E0804A69-9F7E-4056-AB95-7E636948F516}" type="parTrans" cxnId="{47F54DAC-041D-4AF9-A78B-7E9A5381402B}">
      <dgm:prSet/>
      <dgm:spPr/>
      <dgm:t>
        <a:bodyPr/>
        <a:lstStyle/>
        <a:p>
          <a:endParaRPr lang="en-US"/>
        </a:p>
      </dgm:t>
    </dgm:pt>
    <dgm:pt modelId="{3E4C814C-DD55-4B90-BF53-7F5E364977C5}" type="sibTrans" cxnId="{47F54DAC-041D-4AF9-A78B-7E9A5381402B}">
      <dgm:prSet/>
      <dgm:spPr/>
      <dgm:t>
        <a:bodyPr/>
        <a:lstStyle/>
        <a:p>
          <a:endParaRPr lang="en-US"/>
        </a:p>
      </dgm:t>
    </dgm:pt>
    <dgm:pt modelId="{52FA6C37-268D-48DA-8D01-01B5B5CCE634}" type="pres">
      <dgm:prSet presAssocID="{E55EA2FE-28B5-4A7E-847C-BB334CA94536}" presName="composite" presStyleCnt="0">
        <dgm:presLayoutVars>
          <dgm:chMax val="1"/>
          <dgm:dir/>
          <dgm:resizeHandles val="exact"/>
        </dgm:presLayoutVars>
      </dgm:prSet>
      <dgm:spPr/>
    </dgm:pt>
    <dgm:pt modelId="{A2E97B3A-9BE7-4142-9D4D-EA40E84F3C75}" type="pres">
      <dgm:prSet presAssocID="{322E8F6A-D12B-4C79-9EC9-655E042A16B1}" presName="roof" presStyleLbl="dkBgShp" presStyleIdx="0" presStyleCnt="2"/>
      <dgm:spPr/>
    </dgm:pt>
    <dgm:pt modelId="{FC2DC429-D462-4E54-B800-74F90C8B37ED}" type="pres">
      <dgm:prSet presAssocID="{322E8F6A-D12B-4C79-9EC9-655E042A16B1}" presName="pillars" presStyleCnt="0"/>
      <dgm:spPr/>
    </dgm:pt>
    <dgm:pt modelId="{C6830F61-C902-40C4-A5E9-176564350C92}" type="pres">
      <dgm:prSet presAssocID="{322E8F6A-D12B-4C79-9EC9-655E042A16B1}" presName="pillar1" presStyleLbl="node1" presStyleIdx="0" presStyleCnt="5">
        <dgm:presLayoutVars>
          <dgm:bulletEnabled val="1"/>
        </dgm:presLayoutVars>
      </dgm:prSet>
      <dgm:spPr/>
    </dgm:pt>
    <dgm:pt modelId="{54CD4ABC-44C2-4CB4-99AA-E3F4DD5DC4EF}" type="pres">
      <dgm:prSet presAssocID="{A7A84FCF-C202-40AA-B1D0-AE8DE4AA8B91}" presName="pillarX" presStyleLbl="node1" presStyleIdx="1" presStyleCnt="5">
        <dgm:presLayoutVars>
          <dgm:bulletEnabled val="1"/>
        </dgm:presLayoutVars>
      </dgm:prSet>
      <dgm:spPr/>
    </dgm:pt>
    <dgm:pt modelId="{F790DC9B-B3F6-4FD0-B6FE-88C6DCECFA4F}" type="pres">
      <dgm:prSet presAssocID="{30064B71-411F-404F-8A6D-B945B7440390}" presName="pillarX" presStyleLbl="node1" presStyleIdx="2" presStyleCnt="5">
        <dgm:presLayoutVars>
          <dgm:bulletEnabled val="1"/>
        </dgm:presLayoutVars>
      </dgm:prSet>
      <dgm:spPr/>
    </dgm:pt>
    <dgm:pt modelId="{ACAFBEB5-1413-4EFD-B0AD-D77206AA3961}" type="pres">
      <dgm:prSet presAssocID="{C2F07E18-E664-4A75-88FC-E14281486EC5}" presName="pillarX" presStyleLbl="node1" presStyleIdx="3" presStyleCnt="5">
        <dgm:presLayoutVars>
          <dgm:bulletEnabled val="1"/>
        </dgm:presLayoutVars>
      </dgm:prSet>
      <dgm:spPr/>
    </dgm:pt>
    <dgm:pt modelId="{AC2F4B35-9074-433A-950B-371455787466}" type="pres">
      <dgm:prSet presAssocID="{6C087A51-74F5-4E3A-9FE8-55F7C96B618E}" presName="pillarX" presStyleLbl="node1" presStyleIdx="4" presStyleCnt="5">
        <dgm:presLayoutVars>
          <dgm:bulletEnabled val="1"/>
        </dgm:presLayoutVars>
      </dgm:prSet>
      <dgm:spPr/>
    </dgm:pt>
    <dgm:pt modelId="{08130C88-D501-4FBE-819A-271E7FDC110B}" type="pres">
      <dgm:prSet presAssocID="{322E8F6A-D12B-4C79-9EC9-655E042A16B1}" presName="base" presStyleLbl="dkBgShp" presStyleIdx="1" presStyleCnt="2"/>
      <dgm:spPr>
        <a:solidFill>
          <a:schemeClr val="bg1">
            <a:lumMod val="95000"/>
          </a:schemeClr>
        </a:solidFill>
      </dgm:spPr>
    </dgm:pt>
  </dgm:ptLst>
  <dgm:cxnLst>
    <dgm:cxn modelId="{0AAC3E12-7856-4E79-A7C2-B54D507F692B}" srcId="{322E8F6A-D12B-4C79-9EC9-655E042A16B1}" destId="{30064B71-411F-404F-8A6D-B945B7440390}" srcOrd="2" destOrd="0" parTransId="{E9A10D65-E1D3-4030-9FEC-3A18A881670E}" sibTransId="{CB676A5D-7018-4075-85D4-DF0AF1C24CB2}"/>
    <dgm:cxn modelId="{8D32C050-DA31-48A6-BC11-6E76330B0045}" srcId="{E55EA2FE-28B5-4A7E-847C-BB334CA94536}" destId="{322E8F6A-D12B-4C79-9EC9-655E042A16B1}" srcOrd="0" destOrd="0" parTransId="{E219999C-6EA8-46ED-8548-81D24F41D050}" sibTransId="{70F0DE8D-1F7C-4E8D-B79C-CA9697E5804B}"/>
    <dgm:cxn modelId="{CBB4C680-ADF0-4F01-A8C3-0FE996B6175B}" type="presOf" srcId="{30064B71-411F-404F-8A6D-B945B7440390}" destId="{F790DC9B-B3F6-4FD0-B6FE-88C6DCECFA4F}" srcOrd="0" destOrd="0" presId="urn:microsoft.com/office/officeart/2005/8/layout/hList3"/>
    <dgm:cxn modelId="{018765A7-D89A-4F94-8790-4DB10385DCAC}" type="presOf" srcId="{3F210E4F-EB6D-4EBC-BFB0-2BF0CE40390A}" destId="{C6830F61-C902-40C4-A5E9-176564350C92}" srcOrd="0" destOrd="0" presId="urn:microsoft.com/office/officeart/2005/8/layout/hList3"/>
    <dgm:cxn modelId="{2E9866AA-178D-490F-A3D8-1732D2914C76}" type="presOf" srcId="{6C087A51-74F5-4E3A-9FE8-55F7C96B618E}" destId="{AC2F4B35-9074-433A-950B-371455787466}" srcOrd="0" destOrd="0" presId="urn:microsoft.com/office/officeart/2005/8/layout/hList3"/>
    <dgm:cxn modelId="{47F54DAC-041D-4AF9-A78B-7E9A5381402B}" srcId="{322E8F6A-D12B-4C79-9EC9-655E042A16B1}" destId="{C2F07E18-E664-4A75-88FC-E14281486EC5}" srcOrd="3" destOrd="0" parTransId="{E0804A69-9F7E-4056-AB95-7E636948F516}" sibTransId="{3E4C814C-DD55-4B90-BF53-7F5E364977C5}"/>
    <dgm:cxn modelId="{A17BCCAF-AD1E-4CA2-AEFC-701ACA221AD4}" type="presOf" srcId="{A7A84FCF-C202-40AA-B1D0-AE8DE4AA8B91}" destId="{54CD4ABC-44C2-4CB4-99AA-E3F4DD5DC4EF}" srcOrd="0" destOrd="0" presId="urn:microsoft.com/office/officeart/2005/8/layout/hList3"/>
    <dgm:cxn modelId="{15C7A5B3-CD4A-412C-BEA8-733140658F1C}" type="presOf" srcId="{E55EA2FE-28B5-4A7E-847C-BB334CA94536}" destId="{52FA6C37-268D-48DA-8D01-01B5B5CCE634}" srcOrd="0" destOrd="0" presId="urn:microsoft.com/office/officeart/2005/8/layout/hList3"/>
    <dgm:cxn modelId="{7EFB24BD-6BEA-48E9-B41F-4EC739AD271F}" type="presOf" srcId="{C2F07E18-E664-4A75-88FC-E14281486EC5}" destId="{ACAFBEB5-1413-4EFD-B0AD-D77206AA3961}" srcOrd="0" destOrd="0" presId="urn:microsoft.com/office/officeart/2005/8/layout/hList3"/>
    <dgm:cxn modelId="{5F72BFBF-2FED-40AD-A5B2-614D0D692A4E}" srcId="{322E8F6A-D12B-4C79-9EC9-655E042A16B1}" destId="{3F210E4F-EB6D-4EBC-BFB0-2BF0CE40390A}" srcOrd="0" destOrd="0" parTransId="{8400A6D7-D476-4329-BDBB-92B67F681FF4}" sibTransId="{BE2897B5-0DFE-4E55-904D-A3978A603DB7}"/>
    <dgm:cxn modelId="{37DBADCE-958C-424E-AB14-98C7A1FECB21}" srcId="{322E8F6A-D12B-4C79-9EC9-655E042A16B1}" destId="{A7A84FCF-C202-40AA-B1D0-AE8DE4AA8B91}" srcOrd="1" destOrd="0" parTransId="{A333842C-A53B-411C-9AB1-8C18CCC99A19}" sibTransId="{995F3650-C2A5-4E36-A230-B68473A0E336}"/>
    <dgm:cxn modelId="{EEF7CBDD-B8AD-45CC-866F-72568FC82BDE}" srcId="{322E8F6A-D12B-4C79-9EC9-655E042A16B1}" destId="{6C087A51-74F5-4E3A-9FE8-55F7C96B618E}" srcOrd="4" destOrd="0" parTransId="{499D5313-004E-4CB9-997E-87942D1D12FE}" sibTransId="{766DDB41-4D21-422D-929D-540591D032F2}"/>
    <dgm:cxn modelId="{5D2863F1-8E52-4F5A-9C60-44912D21CF8B}" type="presOf" srcId="{322E8F6A-D12B-4C79-9EC9-655E042A16B1}" destId="{A2E97B3A-9BE7-4142-9D4D-EA40E84F3C75}" srcOrd="0" destOrd="0" presId="urn:microsoft.com/office/officeart/2005/8/layout/hList3"/>
    <dgm:cxn modelId="{69B70E97-278C-4E99-8785-86ADE3E4C119}" type="presParOf" srcId="{52FA6C37-268D-48DA-8D01-01B5B5CCE634}" destId="{A2E97B3A-9BE7-4142-9D4D-EA40E84F3C75}" srcOrd="0" destOrd="0" presId="urn:microsoft.com/office/officeart/2005/8/layout/hList3"/>
    <dgm:cxn modelId="{E31DC7D7-F490-46F7-9810-BFDF1BE3CF81}" type="presParOf" srcId="{52FA6C37-268D-48DA-8D01-01B5B5CCE634}" destId="{FC2DC429-D462-4E54-B800-74F90C8B37ED}" srcOrd="1" destOrd="0" presId="urn:microsoft.com/office/officeart/2005/8/layout/hList3"/>
    <dgm:cxn modelId="{9431BBC0-4E2B-4AB5-B820-3F0393FE55A4}" type="presParOf" srcId="{FC2DC429-D462-4E54-B800-74F90C8B37ED}" destId="{C6830F61-C902-40C4-A5E9-176564350C92}" srcOrd="0" destOrd="0" presId="urn:microsoft.com/office/officeart/2005/8/layout/hList3"/>
    <dgm:cxn modelId="{8EBEA14E-0B96-4D0B-B687-D297ED4CD28F}" type="presParOf" srcId="{FC2DC429-D462-4E54-B800-74F90C8B37ED}" destId="{54CD4ABC-44C2-4CB4-99AA-E3F4DD5DC4EF}" srcOrd="1" destOrd="0" presId="urn:microsoft.com/office/officeart/2005/8/layout/hList3"/>
    <dgm:cxn modelId="{CF4F8B8A-6FC7-45D6-A8C3-EE58DE132288}" type="presParOf" srcId="{FC2DC429-D462-4E54-B800-74F90C8B37ED}" destId="{F790DC9B-B3F6-4FD0-B6FE-88C6DCECFA4F}" srcOrd="2" destOrd="0" presId="urn:microsoft.com/office/officeart/2005/8/layout/hList3"/>
    <dgm:cxn modelId="{D32CB23E-A660-4606-898C-0AAFFDFE02AA}" type="presParOf" srcId="{FC2DC429-D462-4E54-B800-74F90C8B37ED}" destId="{ACAFBEB5-1413-4EFD-B0AD-D77206AA3961}" srcOrd="3" destOrd="0" presId="urn:microsoft.com/office/officeart/2005/8/layout/hList3"/>
    <dgm:cxn modelId="{03428B4D-5C85-4A20-B29E-374CDA363B41}" type="presParOf" srcId="{FC2DC429-D462-4E54-B800-74F90C8B37ED}" destId="{AC2F4B35-9074-433A-950B-371455787466}" srcOrd="4" destOrd="0" presId="urn:microsoft.com/office/officeart/2005/8/layout/hList3"/>
    <dgm:cxn modelId="{F05EA55B-784E-46DB-BFE9-B36CD178BD7F}" type="presParOf" srcId="{52FA6C37-268D-48DA-8D01-01B5B5CCE634}" destId="{08130C88-D501-4FBE-819A-271E7FDC110B}" srcOrd="2" destOrd="0" presId="urn:microsoft.com/office/officeart/2005/8/layout/hList3"/>
  </dgm:cxnLst>
  <dgm:bg>
    <a:solidFill>
      <a:schemeClr val="accent1"/>
    </a:solidFill>
  </dgm:bg>
  <dgm:whole>
    <a:ln w="41275">
      <a:solidFill>
        <a:schemeClr val="accent2"/>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t>Oral/Signed Administration </a:t>
          </a:r>
          <a:r>
            <a:rPr lang="en-US" sz="2000" b="1"/>
            <a:t>(continued):</a:t>
          </a:r>
          <a:endParaRPr lang="en-US" sz="2000" b="1">
            <a:solidFill>
              <a:schemeClr val="tx1"/>
            </a:solidFill>
          </a:endParaRP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a:buClr>
              <a:srgbClr val="FF8135"/>
            </a:buClr>
            <a:buSzPct val="95000"/>
            <a:buFont typeface="Wingdings" panose="05000000000000000000" pitchFamily="2" charset="2"/>
            <a:buChar char="§"/>
          </a:pPr>
          <a:r>
            <a:rPr kumimoji="0" lang="en-US" sz="2000" b="0" i="0" u="none" strike="noStrike" cap="none" spc="0" normalizeH="0" baseline="0" noProof="0" dirty="0">
              <a:ln>
                <a:noFill/>
              </a:ln>
              <a:solidFill>
                <a:srgbClr val="0D6CB9"/>
              </a:solidFill>
              <a:effectLst/>
              <a:uLnTx/>
              <a:uFillTx/>
              <a:latin typeface="Calibri"/>
              <a:cs typeface="Calibri"/>
            </a:rPr>
            <a:t>For a student who is not receiving special education or Section 504 services, the decision should be based on consistent academic struggles in the specific area </a:t>
          </a:r>
          <a:r>
            <a:rPr lang="en-US" sz="2000" dirty="0">
              <a:solidFill>
                <a:srgbClr val="0D6CB9"/>
              </a:solidFill>
              <a:latin typeface="Calibri"/>
              <a:cs typeface="Calibri"/>
            </a:rPr>
            <a:t>even</a:t>
          </a:r>
          <a:r>
            <a:rPr kumimoji="0" lang="en-US" sz="2000" b="0" i="0" u="none" strike="noStrike" cap="none" spc="0" normalizeH="0" baseline="0" noProof="0" dirty="0">
              <a:ln>
                <a:noFill/>
              </a:ln>
              <a:solidFill>
                <a:srgbClr val="0D6CB9"/>
              </a:solidFill>
              <a:effectLst/>
              <a:uLnTx/>
              <a:uFillTx/>
              <a:latin typeface="Calibri"/>
              <a:cs typeface="Calibri"/>
            </a:rPr>
            <a:t> after intensive instruction and remediation. </a:t>
          </a:r>
        </a:p>
      </dgm: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r>
            <a:rPr kumimoji="0" lang="en-US" sz="2000" b="0" i="0" u="none" strike="noStrike" cap="none" spc="0" normalizeH="0" baseline="0" noProof="0">
              <a:ln>
                <a:noFill/>
              </a:ln>
              <a:solidFill>
                <a:srgbClr val="0D6CB9"/>
              </a:solidFill>
              <a:effectLst/>
              <a:uLnTx/>
              <a:uFillTx/>
              <a:latin typeface="Calibri"/>
              <a:cs typeface="Calibri"/>
            </a:rPr>
            <a:t>EBs taking STAAR Spanish may be eligible for an oral administration IF they are identified with dyslexia or related disorder</a:t>
          </a:r>
          <a:r>
            <a:rPr lang="en-US" sz="2000" b="0">
              <a:solidFill>
                <a:srgbClr val="0D6CB9"/>
              </a:solidFill>
              <a:latin typeface="Calibri"/>
              <a:cs typeface="Calibri"/>
            </a:rPr>
            <a:t> </a:t>
          </a:r>
          <a:r>
            <a:rPr kumimoji="0" lang="en-US" sz="2000" b="0" i="0" u="none" strike="noStrike" cap="none" spc="0" normalizeH="0" baseline="0" noProof="0">
              <a:ln>
                <a:noFill/>
              </a:ln>
              <a:solidFill>
                <a:srgbClr val="0D6CB9"/>
              </a:solidFill>
              <a:effectLst/>
              <a:uLnTx/>
              <a:uFillTx/>
              <a:latin typeface="Calibri"/>
              <a:cs typeface="Calibri"/>
            </a:rPr>
            <a:t>OR </a:t>
          </a:r>
          <a:r>
            <a:rPr lang="en-US" sz="2000" b="0">
              <a:solidFill>
                <a:srgbClr val="0D6CB9"/>
              </a:solidFill>
              <a:latin typeface="Calibri"/>
              <a:cs typeface="Calibri"/>
            </a:rPr>
            <a:t>have</a:t>
          </a:r>
          <a:r>
            <a:rPr kumimoji="0" lang="en-US" sz="2000" b="0" i="0" u="none" strike="noStrike" cap="none" spc="0" normalizeH="0" baseline="0" noProof="0">
              <a:ln>
                <a:noFill/>
              </a:ln>
              <a:solidFill>
                <a:srgbClr val="0D6CB9"/>
              </a:solidFill>
              <a:effectLst/>
              <a:uLnTx/>
              <a:uFillTx/>
              <a:latin typeface="Calibri"/>
              <a:cs typeface="Calibri"/>
            </a:rPr>
            <a:t> documented evidence of reading difficulties.</a:t>
          </a:r>
          <a:r>
            <a:rPr lang="en-US" sz="2000" b="0">
              <a:solidFill>
                <a:srgbClr val="0D6CB9"/>
              </a:solidFill>
              <a:latin typeface="Calibri"/>
              <a:cs typeface="Calibri"/>
            </a:rPr>
            <a:t> </a:t>
          </a:r>
          <a:endParaRPr lang="en-US" sz="2000" b="0">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pPr>
            <a:buClr>
              <a:srgbClr val="FF8135"/>
            </a:buClr>
            <a:buSzPct val="95000"/>
            <a:buFont typeface="Wingdings" panose="05000000000000000000" pitchFamily="2" charset="2"/>
            <a:buChar char="§"/>
          </a:pPr>
          <a:r>
            <a:rPr kumimoji="0" lang="en-US" sz="1800" b="0" i="0" u="none" strike="noStrike" cap="none" spc="0" normalizeH="0" baseline="0" noProof="0">
              <a:ln>
                <a:noFill/>
              </a:ln>
              <a:solidFill>
                <a:srgbClr val="0D6CB9"/>
              </a:solidFill>
              <a:effectLst/>
              <a:uLnTx/>
              <a:uFillTx/>
              <a:latin typeface="Calibri"/>
              <a:cs typeface="Calibri"/>
            </a:rPr>
            <a:t>For a student who is an EB with a disability, the decision is made by the ARD committee </a:t>
          </a:r>
          <a:r>
            <a:rPr kumimoji="0" lang="en-US" sz="1800" b="1" i="0" u="none" strike="noStrike" cap="none" spc="0" normalizeH="0" baseline="0" noProof="0">
              <a:ln>
                <a:noFill/>
              </a:ln>
              <a:solidFill>
                <a:srgbClr val="0D6CB9"/>
              </a:solidFill>
              <a:effectLst/>
              <a:uLnTx/>
              <a:uFillTx/>
              <a:latin typeface="Calibri"/>
              <a:cs typeface="Calibri"/>
            </a:rPr>
            <a:t>in conjunction </a:t>
          </a:r>
          <a:r>
            <a:rPr kumimoji="0" lang="en-US" sz="1800" b="0" i="0" u="none" strike="noStrike" cap="none" spc="0" normalizeH="0" baseline="0" noProof="0">
              <a:ln>
                <a:noFill/>
              </a:ln>
              <a:solidFill>
                <a:srgbClr val="0D6CB9"/>
              </a:solidFill>
              <a:effectLst/>
              <a:uLnTx/>
              <a:uFillTx/>
              <a:latin typeface="Calibri"/>
              <a:cs typeface="Calibri"/>
            </a:rPr>
            <a:t>with the student’s LPAC.</a:t>
          </a:r>
          <a:r>
            <a:rPr kumimoji="0" lang="en-US" sz="1800" b="1" i="0" u="none" strike="noStrike" cap="none" spc="0" normalizeH="0" baseline="0" noProof="0">
              <a:ln>
                <a:noFill/>
              </a:ln>
              <a:solidFill>
                <a:srgbClr val="0D6CB9"/>
              </a:solidFill>
              <a:effectLst/>
              <a:uLnTx/>
              <a:uFillTx/>
              <a:latin typeface="Calibri"/>
              <a:cs typeface="Calibri"/>
            </a:rPr>
            <a:t> </a:t>
          </a:r>
        </a:p>
        <a:p>
          <a:pPr>
            <a:buClr>
              <a:srgbClr val="FF8135"/>
            </a:buClr>
            <a:buSzPct val="95000"/>
            <a:buFont typeface="Wingdings" panose="05000000000000000000" pitchFamily="2" charset="2"/>
            <a:buChar char="§"/>
          </a:pPr>
          <a:r>
            <a:rPr kumimoji="0" lang="en-US" sz="1800" b="1" i="0" u="none" strike="noStrike" cap="none" spc="0" normalizeH="0" baseline="0" noProof="0">
              <a:ln>
                <a:noFill/>
              </a:ln>
              <a:solidFill>
                <a:srgbClr val="0D6CB9"/>
              </a:solidFill>
              <a:effectLst/>
              <a:uLnTx/>
              <a:uFillTx/>
              <a:latin typeface="Calibri"/>
              <a:cs typeface="Calibri"/>
            </a:rPr>
            <a:t>NOTE:</a:t>
          </a:r>
          <a:r>
            <a:rPr kumimoji="0" lang="en-US" sz="1800" b="0" i="0" u="none" strike="noStrike" cap="none" spc="0" normalizeH="0" baseline="0" noProof="0">
              <a:ln>
                <a:noFill/>
              </a:ln>
              <a:solidFill>
                <a:srgbClr val="0D6CB9"/>
              </a:solidFill>
              <a:effectLst/>
              <a:uLnTx/>
              <a:uFillTx/>
              <a:latin typeface="Calibri"/>
              <a:cs typeface="Calibri"/>
            </a:rPr>
            <a:t> </a:t>
          </a:r>
          <a:r>
            <a:rPr lang="en-US" sz="1800">
              <a:solidFill>
                <a:srgbClr val="0D6CB9"/>
              </a:solidFill>
            </a:rPr>
            <a:t>Students for whom the LPAC recommends oral administration for any English reading or English EOC assessment may not be reclassified at the end of the school year.</a:t>
          </a: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custT="1"/>
      <dgm:spPr>
        <a:solidFill>
          <a:schemeClr val="bg1"/>
        </a:solidFill>
        <a:ln>
          <a:solidFill>
            <a:srgbClr val="F16038"/>
          </a:solidFill>
        </a:ln>
      </dgm:spPr>
      <dgm:t>
        <a:bodyPr anchor="t"/>
        <a:lstStyle/>
        <a:p>
          <a:pPr>
            <a:buClr>
              <a:srgbClr val="FF8135"/>
            </a:buClr>
            <a:buSzPct val="95000"/>
            <a:buFont typeface="Wingdings" panose="05000000000000000000" pitchFamily="2" charset="2"/>
            <a:buChar char="§"/>
          </a:pPr>
          <a:r>
            <a:rPr kumimoji="0" lang="en-US" sz="2000" i="0" u="none" strike="noStrike" cap="none" spc="0" normalizeH="0" baseline="0" noProof="0">
              <a:ln>
                <a:noFill/>
              </a:ln>
              <a:solidFill>
                <a:srgbClr val="0D6CB9"/>
              </a:solidFill>
              <a:effectLst/>
              <a:uLnTx/>
              <a:uFillTx/>
              <a:latin typeface="Calibri"/>
              <a:cs typeface="Calibri"/>
            </a:rPr>
            <a:t>For a student who is an EB, the decision is made by the LPAC based on the eligibility criteria and is documented in the student’s file.</a:t>
          </a:r>
          <a:endParaRPr lang="en-US" sz="2000">
            <a:solidFill>
              <a:srgbClr val="0D6CB9"/>
            </a:solidFill>
          </a:endParaRP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49680"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LinFactX="8848" custLinFactY="99601" custLinFactNeighborX="100000" custLinFactNeighborY="100000">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1" presStyleCnt="2" custLinFactX="-8601" custLinFactY="-9871" custLinFactNeighborX="-100000" custLinFactNeighborY="-100000">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rtl="0"/>
          <a:r>
            <a:rPr lang="en-US" sz="2400" b="1"/>
            <a:t>Oral/Signed Administration </a:t>
          </a:r>
          <a:r>
            <a:rPr lang="en-US" sz="2000" b="0"/>
            <a:t>(continued):</a:t>
          </a:r>
          <a:r>
            <a:rPr lang="en-US" sz="2000" b="0">
              <a:latin typeface="Calibri Light" panose="020F0302020204030204"/>
            </a:rPr>
            <a:t> </a:t>
          </a:r>
          <a:endParaRPr lang="en-US" sz="20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33780" custLinFactY="-53144" custLinFactNeighborX="505" custLinFactNeighborY="-100000">
        <dgm:presLayoutVars>
          <dgm:chPref val="3"/>
        </dgm:presLayoutVars>
      </dgm:prSet>
      <dgm:spPr/>
    </dgm:pt>
    <dgm:pt modelId="{0AC39A0B-5DD0-4828-AF09-44532F324E64}" type="pres">
      <dgm:prSet presAssocID="{5C208612-5DE7-40FD-AB85-24F5FEE384E8}" presName="horzOne" presStyleCnt="0"/>
      <dgm:spPr/>
    </dgm:pt>
  </dgm:ptLst>
  <dgm:cxnLst>
    <dgm:cxn modelId="{477D8816-E6B6-482D-AD3A-D765D2FA96D0}" type="presOf" srcId="{5C208612-5DE7-40FD-AB85-24F5FEE384E8}" destId="{5C2742FE-7329-4DDC-BC71-07253AC9681B}" srcOrd="0" destOrd="0" presId="urn:microsoft.com/office/officeart/2005/8/layout/hierarchy4"/>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0B0BE099-1581-4BDC-A48E-F3850A701977}" type="presParOf" srcId="{0B5ECF28-8AD8-42A6-83E4-2EA0792223E2}" destId="{0AC39A0B-5DD0-4828-AF09-44532F324E64}"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rtl="0"/>
          <a:r>
            <a:rPr lang="en-US" sz="2400" b="1"/>
            <a:t>Oral/Signed Administration </a:t>
          </a:r>
          <a:r>
            <a:rPr lang="en-US" sz="2000" b="0"/>
            <a:t>(continued):</a:t>
          </a:r>
          <a:r>
            <a:rPr lang="en-US" sz="2000" b="0">
              <a:latin typeface="Calibri Light" panose="020F0302020204030204"/>
            </a:rPr>
            <a:t> </a:t>
          </a:r>
          <a:endParaRPr lang="en-US" sz="20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33780" custLinFactY="-53144" custLinFactNeighborX="505" custLinFactNeighborY="-100000">
        <dgm:presLayoutVars>
          <dgm:chPref val="3"/>
        </dgm:presLayoutVars>
      </dgm:prSet>
      <dgm:spPr/>
    </dgm:pt>
    <dgm:pt modelId="{0AC39A0B-5DD0-4828-AF09-44532F324E64}" type="pres">
      <dgm:prSet presAssocID="{5C208612-5DE7-40FD-AB85-24F5FEE384E8}" presName="horzOne" presStyleCnt="0"/>
      <dgm:spPr/>
    </dgm:pt>
  </dgm:ptLst>
  <dgm:cxnLst>
    <dgm:cxn modelId="{477D8816-E6B6-482D-AD3A-D765D2FA96D0}" type="presOf" srcId="{5C208612-5DE7-40FD-AB85-24F5FEE384E8}" destId="{5C2742FE-7329-4DDC-BC71-07253AC9681B}" srcOrd="0" destOrd="0" presId="urn:microsoft.com/office/officeart/2005/8/layout/hierarchy4"/>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0B0BE099-1581-4BDC-A48E-F3850A701977}" type="presParOf" srcId="{0B5ECF28-8AD8-42A6-83E4-2EA0792223E2}" destId="{0AC39A0B-5DD0-4828-AF09-44532F324E64}"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rtl="0"/>
          <a:r>
            <a:rPr lang="en-US" sz="2400" b="1"/>
            <a:t>Oral/Signed Administration </a:t>
          </a:r>
          <a:r>
            <a:rPr lang="en-US" sz="2000" b="0"/>
            <a:t>(continued):</a:t>
          </a:r>
          <a:r>
            <a:rPr lang="en-US" sz="2000" b="0">
              <a:latin typeface="Calibri Light" panose="020F0302020204030204"/>
            </a:rPr>
            <a:t> </a:t>
          </a:r>
          <a:endParaRPr lang="en-US" sz="20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33780" custLinFactY="-53144" custLinFactNeighborX="505" custLinFactNeighborY="-100000">
        <dgm:presLayoutVars>
          <dgm:chPref val="3"/>
        </dgm:presLayoutVars>
      </dgm:prSet>
      <dgm:spPr/>
    </dgm:pt>
    <dgm:pt modelId="{0AC39A0B-5DD0-4828-AF09-44532F324E64}" type="pres">
      <dgm:prSet presAssocID="{5C208612-5DE7-40FD-AB85-24F5FEE384E8}" presName="horzOne" presStyleCnt="0"/>
      <dgm:spPr/>
    </dgm:pt>
  </dgm:ptLst>
  <dgm:cxnLst>
    <dgm:cxn modelId="{477D8816-E6B6-482D-AD3A-D765D2FA96D0}" type="presOf" srcId="{5C208612-5DE7-40FD-AB85-24F5FEE384E8}" destId="{5C2742FE-7329-4DDC-BC71-07253AC9681B}" srcOrd="0" destOrd="0" presId="urn:microsoft.com/office/officeart/2005/8/layout/hierarchy4"/>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0B0BE099-1581-4BDC-A48E-F3850A701977}" type="presParOf" srcId="{0B5ECF28-8AD8-42A6-83E4-2EA0792223E2}" destId="{0AC39A0B-5DD0-4828-AF09-44532F324E64}"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rtl="0"/>
          <a:r>
            <a:rPr lang="en-US" sz="2400" b="1"/>
            <a:t>Oral/Signed Administration </a:t>
          </a:r>
          <a:r>
            <a:rPr lang="en-US" sz="2000" b="0"/>
            <a:t>(continued):</a:t>
          </a:r>
          <a:r>
            <a:rPr lang="en-US" sz="2000" b="0">
              <a:latin typeface="Calibri Light" panose="020F0302020204030204"/>
            </a:rPr>
            <a:t> </a:t>
          </a:r>
          <a:endParaRPr lang="en-US" sz="20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33780" custLinFactY="-53144" custLinFactNeighborX="505" custLinFactNeighborY="-100000">
        <dgm:presLayoutVars>
          <dgm:chPref val="3"/>
        </dgm:presLayoutVars>
      </dgm:prSet>
      <dgm:spPr/>
    </dgm:pt>
    <dgm:pt modelId="{0AC39A0B-5DD0-4828-AF09-44532F324E64}" type="pres">
      <dgm:prSet presAssocID="{5C208612-5DE7-40FD-AB85-24F5FEE384E8}" presName="horzOne" presStyleCnt="0"/>
      <dgm:spPr/>
    </dgm:pt>
  </dgm:ptLst>
  <dgm:cxnLst>
    <dgm:cxn modelId="{477D8816-E6B6-482D-AD3A-D765D2FA96D0}" type="presOf" srcId="{5C208612-5DE7-40FD-AB85-24F5FEE384E8}" destId="{5C2742FE-7329-4DDC-BC71-07253AC9681B}" srcOrd="0" destOrd="0" presId="urn:microsoft.com/office/officeart/2005/8/layout/hierarchy4"/>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0B0BE099-1581-4BDC-A48E-F3850A701977}" type="presParOf" srcId="{0B5ECF28-8AD8-42A6-83E4-2EA0792223E2}" destId="{0AC39A0B-5DD0-4828-AF09-44532F324E64}"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rtl="0"/>
          <a:r>
            <a:rPr lang="en-US" sz="2400" b="1"/>
            <a:t>Oral/Signed Administration </a:t>
          </a:r>
          <a:r>
            <a:rPr lang="en-US" sz="2000" b="0"/>
            <a:t>(continued):</a:t>
          </a:r>
          <a:r>
            <a:rPr lang="en-US" sz="2000" b="1">
              <a:latin typeface="Calibri Light" panose="020F0302020204030204"/>
            </a:rPr>
            <a:t> </a:t>
          </a:r>
          <a:endParaRPr lang="en-US" sz="20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33780" custLinFactY="-53144" custLinFactNeighborX="505" custLinFactNeighborY="-100000">
        <dgm:presLayoutVars>
          <dgm:chPref val="3"/>
        </dgm:presLayoutVars>
      </dgm:prSet>
      <dgm:spPr/>
    </dgm:pt>
    <dgm:pt modelId="{0AC39A0B-5DD0-4828-AF09-44532F324E64}" type="pres">
      <dgm:prSet presAssocID="{5C208612-5DE7-40FD-AB85-24F5FEE384E8}" presName="horzOne" presStyleCnt="0"/>
      <dgm:spPr/>
    </dgm:pt>
  </dgm:ptLst>
  <dgm:cxnLst>
    <dgm:cxn modelId="{477D8816-E6B6-482D-AD3A-D765D2FA96D0}" type="presOf" srcId="{5C208612-5DE7-40FD-AB85-24F5FEE384E8}" destId="{5C2742FE-7329-4DDC-BC71-07253AC9681B}" srcOrd="0" destOrd="0" presId="urn:microsoft.com/office/officeart/2005/8/layout/hierarchy4"/>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0B0BE099-1581-4BDC-A48E-F3850A701977}" type="presParOf" srcId="{0B5ECF28-8AD8-42A6-83E4-2EA0792223E2}" destId="{0AC39A0B-5DD0-4828-AF09-44532F324E64}"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solidFill>
                <a:schemeClr val="bg1"/>
              </a:solidFill>
            </a:rPr>
            <a:t>Spelling Assistance </a:t>
          </a:r>
          <a:r>
            <a:rPr lang="en-US" sz="2000" b="0">
              <a:solidFill>
                <a:schemeClr val="bg1"/>
              </a:solidFill>
            </a:rPr>
            <a:t>provides various types of spelling assistance for a student with a disability. A student may receive this support if served by an ARD committee or Section 504 committee.</a:t>
          </a:r>
        </a:p>
        <a:p>
          <a:pPr algn="l" rtl="0"/>
          <a:r>
            <a:rPr lang="en-US" sz="2000" b="0">
              <a:solidFill>
                <a:schemeClr val="bg1"/>
              </a:solidFill>
              <a:latin typeface="Calibri Light" panose="020F0302020204030204"/>
            </a:rPr>
            <a:t> </a:t>
          </a:r>
          <a:endParaRPr lang="en-US" sz="2000" b="0">
            <a:solidFill>
              <a:schemeClr val="bg1"/>
            </a:solidFill>
          </a:endParaRP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pPr>
            <a:buClr>
              <a:srgbClr val="FF8134"/>
            </a:buClr>
            <a:buSzTx/>
            <a:buFont typeface="Wingdings" charset="2"/>
            <a:buChar char="§"/>
          </a:pPr>
          <a:r>
            <a:rPr kumimoji="0" lang="en-US" sz="1800" b="0" i="0" u="none" strike="noStrike" cap="none" spc="0" normalizeH="0" baseline="0" noProof="0">
              <a:ln>
                <a:noFill/>
              </a:ln>
              <a:solidFill>
                <a:srgbClr val="0D6CB9"/>
              </a:solidFill>
              <a:effectLst/>
              <a:uLnTx/>
              <a:uFillTx/>
              <a:latin typeface="Calibri"/>
              <a:cs typeface="Calibri"/>
            </a:rPr>
            <a:t>Available as an online embedded support on STAAR writing (composition) if a student routinely uses a similar tool during class instruction. For example, if a student uses a frequently misspelled word list or speech-to-text, then do NOT activate the online spelling assistance support in TIDE. The student will use what he or she routinely uses in class. </a:t>
          </a:r>
          <a:endParaRPr lang="en-US" sz="1800" b="0">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pPr>
            <a:buClr>
              <a:srgbClr val="FF8134"/>
            </a:buClr>
            <a:buSzTx/>
            <a:buFont typeface="Wingdings"/>
            <a:buChar char="§"/>
          </a:pPr>
          <a:r>
            <a:rPr kumimoji="0" lang="en-US" sz="1800" b="0" i="0" u="none" strike="noStrike" cap="none" spc="0" normalizeH="0" baseline="0" noProof="0">
              <a:ln>
                <a:noFill/>
              </a:ln>
              <a:solidFill>
                <a:srgbClr val="0D6CB9"/>
              </a:solidFill>
              <a:effectLst/>
              <a:uLnTx/>
              <a:uFillTx/>
              <a:latin typeface="Calibri"/>
              <a:cs typeface="Calibri"/>
            </a:rPr>
            <a:t>A student should be capable of organizing and developing ideas and understands the basic function and use of written language conventions (e.g., sentence structures, irregular verbs) BUT has a disability that is so severe that he or she cannot apply basic spelling rules or word patterns (e.g., silent letters, base words with affixes) to written responses</a:t>
          </a:r>
          <a:endParaRPr lang="en-US" sz="1800">
            <a:solidFill>
              <a:srgbClr val="0D6CB9"/>
            </a:solidFill>
          </a:endParaRP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custT="1"/>
      <dgm:spPr>
        <a:solidFill>
          <a:schemeClr val="bg1"/>
        </a:solidFill>
        <a:ln>
          <a:solidFill>
            <a:srgbClr val="F16038"/>
          </a:solidFill>
        </a:ln>
      </dgm:spPr>
      <dgm:t>
        <a:bodyPr anchor="ctr"/>
        <a:lstStyle/>
        <a:p>
          <a:pPr rtl="0">
            <a:buClr>
              <a:srgbClr val="FF8135"/>
            </a:buClr>
            <a:buSzPct val="95000"/>
            <a:buFont typeface="Wingdings" panose="05000000000000000000" pitchFamily="2" charset="2"/>
            <a:buChar char="§"/>
          </a:pPr>
          <a:r>
            <a:rPr kumimoji="0" lang="en-US" sz="2000" b="0" i="0" u="none" strike="noStrike" cap="none" spc="0" normalizeH="0" baseline="0" noProof="0">
              <a:ln>
                <a:noFill/>
              </a:ln>
              <a:solidFill>
                <a:srgbClr val="0D6CB9"/>
              </a:solidFill>
              <a:effectLst/>
              <a:uLnTx/>
              <a:uFillTx/>
              <a:latin typeface="Calibri"/>
              <a:cs typeface="Calibri"/>
            </a:rPr>
            <a:t>If a student is an EB with a disability, the decision is made by the ARD committee </a:t>
          </a:r>
          <a:r>
            <a:rPr kumimoji="0" lang="en-US" sz="2000" b="1" i="0" u="none" strike="noStrike" cap="none" spc="0" normalizeH="0" baseline="0" noProof="0">
              <a:ln>
                <a:noFill/>
              </a:ln>
              <a:solidFill>
                <a:srgbClr val="0D6CB9"/>
              </a:solidFill>
              <a:effectLst/>
              <a:uLnTx/>
              <a:uFillTx/>
              <a:latin typeface="Calibri"/>
              <a:cs typeface="Calibri"/>
            </a:rPr>
            <a:t>in conjunction </a:t>
          </a:r>
          <a:r>
            <a:rPr kumimoji="0" lang="en-US" sz="2000" b="0" i="0" u="none" strike="noStrike" cap="none" spc="0" normalizeH="0" baseline="0" noProof="0">
              <a:ln>
                <a:noFill/>
              </a:ln>
              <a:solidFill>
                <a:srgbClr val="0D6CB9"/>
              </a:solidFill>
              <a:effectLst/>
              <a:uLnTx/>
              <a:uFillTx/>
              <a:latin typeface="Calibri"/>
              <a:cs typeface="Calibri"/>
            </a:rPr>
            <a:t>with the student’s LPAC. </a:t>
          </a:r>
          <a:endParaRPr lang="en-US" sz="2000">
            <a:solidFill>
              <a:srgbClr val="0D6CB9"/>
            </a:solidFill>
          </a:endParaRP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a:buClr>
              <a:srgbClr val="FF8134"/>
            </a:buClr>
            <a:buSzTx/>
            <a:buFont typeface="Wingdings" panose="05000000000000000000" pitchFamily="2" charset="2"/>
            <a:buChar char="§"/>
          </a:pPr>
          <a:endParaRPr kumimoji="0" lang="en-US" sz="1800" b="0" i="0" u="none" strike="noStrike" cap="none" spc="0" normalizeH="0" baseline="0" noProof="0">
            <a:ln>
              <a:noFill/>
            </a:ln>
            <a:solidFill>
              <a:schemeClr val="tx1"/>
            </a:solidFill>
            <a:effectLst/>
            <a:uLnTx/>
            <a:uFillTx/>
            <a:latin typeface="Calibri"/>
            <a:cs typeface="Calibri"/>
          </a:endParaRPr>
        </a:p>
      </dgm:t>
    </dgm:pt>
    <dgm:pt modelId="{9EC22442-CDEE-4A74-B620-99A6314C5829}" type="sibTrans" cxnId="{8525CE99-8B7A-42AD-B98D-40CD5A6BD29D}">
      <dgm:prSet/>
      <dgm:spPr/>
      <dgm:t>
        <a:bodyPr/>
        <a:lstStyle/>
        <a:p>
          <a:endParaRPr lang="en-US"/>
        </a:p>
      </dgm:t>
    </dgm:pt>
    <dgm:pt modelId="{DD9370DF-338E-4433-B01F-4FAB787800FC}" type="parTrans" cxnId="{8525CE99-8B7A-42AD-B98D-40CD5A6BD29D}">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63703"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LinFactX="8848" custLinFactY="99601" custLinFactNeighborX="100000" custLinFactNeighborY="100000">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1" presStyleCnt="2" custLinFactX="-8601" custLinFactY="-9871" custLinFactNeighborX="-100000" custLinFactNeighborY="-100000">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solidFill>
                <a:schemeClr val="bg1"/>
              </a:solidFill>
            </a:rPr>
            <a:t>Spelling Assistance </a:t>
          </a:r>
          <a:r>
            <a:rPr lang="en-US" sz="2000" b="0">
              <a:solidFill>
                <a:schemeClr val="bg1"/>
              </a:solidFill>
            </a:rPr>
            <a:t>(continued):</a:t>
          </a: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22072" custLinFactY="-53144" custLinFactNeighborX="505" custLinFactNeighborY="-100000">
        <dgm:presLayoutVars>
          <dgm:chPref val="3"/>
        </dgm:presLayoutVars>
      </dgm:prSet>
      <dgm:spPr/>
    </dgm:pt>
    <dgm:pt modelId="{0AC39A0B-5DD0-4828-AF09-44532F324E64}" type="pres">
      <dgm:prSet presAssocID="{5C208612-5DE7-40FD-AB85-24F5FEE384E8}" presName="horzOne" presStyleCnt="0"/>
      <dgm:spPr/>
    </dgm:pt>
  </dgm:ptLst>
  <dgm:cxnLst>
    <dgm:cxn modelId="{477D8816-E6B6-482D-AD3A-D765D2FA96D0}" type="presOf" srcId="{5C208612-5DE7-40FD-AB85-24F5FEE384E8}" destId="{5C2742FE-7329-4DDC-BC71-07253AC9681B}" srcOrd="0" destOrd="0" presId="urn:microsoft.com/office/officeart/2005/8/layout/hierarchy4"/>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0B0BE099-1581-4BDC-A48E-F3850A701977}" type="presParOf" srcId="{0B5ECF28-8AD8-42A6-83E4-2EA0792223E2}" destId="{0AC39A0B-5DD0-4828-AF09-44532F324E64}"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lstStyle/>
        <a:p>
          <a:pPr algn="l"/>
          <a:r>
            <a:rPr lang="en-US" sz="2400" b="1">
              <a:solidFill>
                <a:schemeClr val="bg1"/>
              </a:solidFill>
            </a:rPr>
            <a:t>Supplemental Aids </a:t>
          </a:r>
          <a:r>
            <a:rPr lang="en-US" sz="2000" b="0" i="0"/>
            <a:t>allow a student to use paper-based resources that assist in recalling information. A student may use this designated support if that student routinely, independently, and effectively uses it during classroom instruction and classroom testing. </a:t>
          </a:r>
          <a:endParaRPr lang="en-US" sz="2000" b="0">
            <a:solidFill>
              <a:schemeClr val="bg1"/>
            </a:solidFill>
          </a:endParaRPr>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E4D1BD34-AB22-431C-8FF4-D1B722B1EBA9}">
      <dgm:prSet phldrT="[Text]" custT="1"/>
      <dgm:spPr>
        <a:solidFill>
          <a:schemeClr val="bg1"/>
        </a:solidFill>
        <a:ln>
          <a:solidFill>
            <a:srgbClr val="F16038"/>
          </a:solidFill>
        </a:ln>
      </dgm:spPr>
      <dgm:t>
        <a:bodyPr/>
        <a:lstStyle/>
        <a:p>
          <a:pPr algn="ctr">
            <a:buClr>
              <a:srgbClr val="FF8134"/>
            </a:buClr>
            <a:buSzTx/>
            <a:buFont typeface="Wingdings" panose="05000000000000000000" pitchFamily="2" charset="2"/>
            <a:buChar char="§"/>
          </a:pPr>
          <a:r>
            <a:rPr kumimoji="0" lang="en-US" sz="2000" b="0" i="0" u="none" strike="noStrike" cap="none" spc="0" normalizeH="0" baseline="0" noProof="0">
              <a:ln>
                <a:noFill/>
              </a:ln>
              <a:solidFill>
                <a:schemeClr val="tx1"/>
              </a:solidFill>
              <a:effectLst/>
              <a:uLnTx/>
              <a:uFillTx/>
              <a:latin typeface="Calibri"/>
              <a:cs typeface="Calibri"/>
            </a:rPr>
            <a:t> </a:t>
          </a:r>
          <a:r>
            <a:rPr lang="en-US" sz="2000" b="0" i="0">
              <a:solidFill>
                <a:srgbClr val="0D6CB9"/>
              </a:solidFill>
            </a:rPr>
            <a:t>If a student writes on the supplemental aid while taking the state assessment, the supplemental aid must be destroyed after testing.</a:t>
          </a:r>
          <a:endParaRPr kumimoji="0" lang="en-US" sz="2000" b="0" i="0" u="none" strike="noStrike" cap="none" spc="0" normalizeH="0" baseline="0" noProof="0">
            <a:ln>
              <a:noFill/>
            </a:ln>
            <a:solidFill>
              <a:srgbClr val="0D6CB9"/>
            </a:solidFill>
            <a:effectLst/>
            <a:uLnTx/>
            <a:uFillTx/>
            <a:latin typeface="Calibri"/>
            <a:cs typeface="Calibri"/>
          </a:endParaRPr>
        </a:p>
      </dgm:t>
    </dgm:pt>
    <dgm:pt modelId="{DD9370DF-338E-4433-B01F-4FAB787800FC}" type="parTrans" cxnId="{8525CE99-8B7A-42AD-B98D-40CD5A6BD29D}">
      <dgm:prSet/>
      <dgm:spPr/>
      <dgm:t>
        <a:bodyPr/>
        <a:lstStyle/>
        <a:p>
          <a:endParaRPr lang="en-US"/>
        </a:p>
      </dgm:t>
    </dgm:pt>
    <dgm:pt modelId="{9EC22442-CDEE-4A74-B620-99A6314C5829}" type="sibTrans" cxnId="{8525CE99-8B7A-42AD-B98D-40CD5A6BD29D}">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r>
            <a:rPr lang="en-US" sz="2000" b="0" i="0">
              <a:solidFill>
                <a:srgbClr val="0D6CB9"/>
              </a:solidFill>
            </a:rPr>
            <a:t>Supplemental aids should be individualized for each student. Students have different strengths and needs, so it is not appropriate to provide all students the exact same set of supplemental aids.</a:t>
          </a:r>
          <a:endParaRPr lang="en-US" sz="2000" b="0">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16BE57A8-444B-4ACE-971C-51039F4849F9}">
      <dgm:prSet phldrT="[Text]" custT="1"/>
      <dgm:spPr>
        <a:solidFill>
          <a:schemeClr val="bg1"/>
        </a:solidFill>
        <a:ln>
          <a:solidFill>
            <a:srgbClr val="F16038"/>
          </a:solidFill>
        </a:ln>
      </dgm:spPr>
      <dgm:t>
        <a:bodyPr/>
        <a:lstStyle/>
        <a:p>
          <a:r>
            <a:rPr lang="en-US" sz="2000" b="0" i="0">
              <a:solidFill>
                <a:srgbClr val="0D6CB9"/>
              </a:solidFill>
            </a:rPr>
            <a:t>It is not necessary to conceal or remove instructional or reference materials in the testing area, the classroom, or hallways unless they could assist a student with answering questions on the subject-area assessment being administered</a:t>
          </a:r>
          <a:r>
            <a:rPr lang="en-US" sz="1600" b="0" i="0">
              <a:solidFill>
                <a:srgbClr val="0D6CB9"/>
              </a:solidFill>
            </a:rPr>
            <a:t>. </a:t>
          </a:r>
          <a:endParaRPr lang="en-US" sz="1600">
            <a:solidFill>
              <a:srgbClr val="0D6CB9"/>
            </a:solidFill>
          </a:endParaRPr>
        </a:p>
      </dgm:t>
    </dgm:pt>
    <dgm:pt modelId="{0C2DA5C0-422E-4119-A7F3-5F33B4E9AF21}" type="parTrans" cxnId="{04FB3CB5-47A0-400E-BFB3-C0BA80E6B601}">
      <dgm:prSet/>
      <dgm:spPr/>
      <dgm:t>
        <a:bodyPr/>
        <a:lstStyle/>
        <a:p>
          <a:endParaRPr lang="en-US"/>
        </a:p>
      </dgm:t>
    </dgm:pt>
    <dgm:pt modelId="{D49DDD33-A70E-4673-BEF1-8CEE5BCD0F66}" type="sibTrans" cxnId="{04FB3CB5-47A0-400E-BFB3-C0BA80E6B601}">
      <dgm:prSet/>
      <dgm:spPr/>
      <dgm:t>
        <a:bodyPr/>
        <a:lstStyle/>
        <a:p>
          <a:endParaRPr lang="en-US"/>
        </a:p>
      </dgm:t>
    </dgm:pt>
    <dgm:pt modelId="{25302B53-6A51-4710-96F8-78ABB1DE0CA0}">
      <dgm:prSet phldrT="[Text]" custT="1"/>
      <dgm:spPr>
        <a:solidFill>
          <a:schemeClr val="bg1"/>
        </a:solidFill>
        <a:ln>
          <a:solidFill>
            <a:srgbClr val="F16038"/>
          </a:solidFill>
        </a:ln>
      </dgm:spPr>
      <dgm:t>
        <a:bodyPr/>
        <a:lstStyle/>
        <a:p>
          <a:r>
            <a:rPr lang="en-US" sz="2000" b="0" i="0">
              <a:solidFill>
                <a:srgbClr val="0D6CB9"/>
              </a:solidFill>
            </a:rPr>
            <a:t>Supplemental aids can be provided in the language that is most appropriate for the student.</a:t>
          </a:r>
          <a:endParaRPr lang="en-US" sz="2000">
            <a:solidFill>
              <a:srgbClr val="0D6CB9"/>
            </a:solidFill>
          </a:endParaRPr>
        </a:p>
      </dgm:t>
    </dgm:pt>
    <dgm:pt modelId="{7BB07296-A576-47AE-9E1E-78AC60CAF7DD}" type="parTrans" cxnId="{B90A789F-4F0A-44B4-9B53-CC9676A539C2}">
      <dgm:prSet/>
      <dgm:spPr/>
      <dgm:t>
        <a:bodyPr/>
        <a:lstStyle/>
        <a:p>
          <a:endParaRPr lang="en-US"/>
        </a:p>
      </dgm:t>
    </dgm:pt>
    <dgm:pt modelId="{98D58E38-4822-438A-B1F5-DB3E6F3C451E}" type="sibTrans" cxnId="{B90A789F-4F0A-44B4-9B53-CC9676A539C2}">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63703"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D62E1C26-C196-495E-9895-4E64182E81B3}" type="pres">
      <dgm:prSet presAssocID="{E4D1BD34-AB22-431C-8FF4-D1B722B1EBA9}" presName="vertTwo" presStyleCnt="0"/>
      <dgm:spPr/>
    </dgm:pt>
    <dgm:pt modelId="{958FB0CF-2EA0-4CFE-9283-F26E975A5CDB}" type="pres">
      <dgm:prSet presAssocID="{E4D1BD34-AB22-431C-8FF4-D1B722B1EBA9}" presName="txTwo" presStyleLbl="node2" presStyleIdx="0" presStyleCnt="2" custLinFactX="8848" custLinFactY="99601" custLinFactNeighborX="100000" custLinFactNeighborY="100000">
        <dgm:presLayoutVars>
          <dgm:chPref val="3"/>
        </dgm:presLayoutVars>
      </dgm:prSet>
      <dgm:spPr/>
    </dgm:pt>
    <dgm:pt modelId="{DFFC2E56-6A22-413E-9844-F7EC4ED3B96E}" type="pres">
      <dgm:prSet presAssocID="{E4D1BD34-AB22-431C-8FF4-D1B722B1EBA9}" presName="parTransTwo" presStyleCnt="0"/>
      <dgm:spPr/>
    </dgm:pt>
    <dgm:pt modelId="{8904DE32-5DE2-4A56-9909-DDB28CE184CC}" type="pres">
      <dgm:prSet presAssocID="{E4D1BD34-AB22-431C-8FF4-D1B722B1EBA9}" presName="horzTwo" presStyleCnt="0"/>
      <dgm:spPr/>
    </dgm:pt>
    <dgm:pt modelId="{E0479348-ACC5-4E7F-A332-7EF4EF22F1E3}" type="pres">
      <dgm:prSet presAssocID="{6B35D56E-6707-4595-8455-BDB7BFF761EA}" presName="vertThree" presStyleCnt="0"/>
      <dgm:spPr/>
    </dgm:pt>
    <dgm:pt modelId="{D860588E-36D3-4090-A8EF-DA2D6AF23FE0}" type="pres">
      <dgm:prSet presAssocID="{6B35D56E-6707-4595-8455-BDB7BFF761EA}" presName="txThree" presStyleLbl="node3" presStyleIdx="0" presStyleCnt="2">
        <dgm:presLayoutVars>
          <dgm:chPref val="3"/>
        </dgm:presLayoutVars>
      </dgm:prSet>
      <dgm:spPr/>
    </dgm:pt>
    <dgm:pt modelId="{9A71E779-F123-45B9-A34F-3E6555885E98}" type="pres">
      <dgm:prSet presAssocID="{6B35D56E-6707-4595-8455-BDB7BFF761EA}" presName="horzThree" presStyleCnt="0"/>
      <dgm:spPr/>
    </dgm:pt>
    <dgm:pt modelId="{E0E7A5CB-9510-495B-BDED-5B1E5B88559A}" type="pres">
      <dgm:prSet presAssocID="{9EC22442-CDEE-4A74-B620-99A6314C5829}" presName="sibSpaceTwo" presStyleCnt="0"/>
      <dgm:spPr/>
    </dgm:pt>
    <dgm:pt modelId="{9462A209-414D-4EC6-AF5E-F3E689920139}" type="pres">
      <dgm:prSet presAssocID="{16BE57A8-444B-4ACE-971C-51039F4849F9}" presName="vertTwo" presStyleCnt="0"/>
      <dgm:spPr/>
    </dgm:pt>
    <dgm:pt modelId="{30FF46CB-5EE4-404F-B592-88A5EB36026F}" type="pres">
      <dgm:prSet presAssocID="{16BE57A8-444B-4ACE-971C-51039F4849F9}" presName="txTwo" presStyleLbl="node2" presStyleIdx="1" presStyleCnt="2">
        <dgm:presLayoutVars>
          <dgm:chPref val="3"/>
        </dgm:presLayoutVars>
      </dgm:prSet>
      <dgm:spPr/>
    </dgm:pt>
    <dgm:pt modelId="{C513F371-4A9C-430A-95A9-AD109EEC92DF}" type="pres">
      <dgm:prSet presAssocID="{16BE57A8-444B-4ACE-971C-51039F4849F9}" presName="parTransTwo" presStyleCnt="0"/>
      <dgm:spPr/>
    </dgm:pt>
    <dgm:pt modelId="{6A6AE19D-B50F-4CB7-93D6-35C47B536F5F}" type="pres">
      <dgm:prSet presAssocID="{16BE57A8-444B-4ACE-971C-51039F4849F9}" presName="horzTwo" presStyleCnt="0"/>
      <dgm:spPr/>
    </dgm:pt>
    <dgm:pt modelId="{B6B8B31B-8BBB-4890-9907-C2A1C188EBA1}" type="pres">
      <dgm:prSet presAssocID="{25302B53-6A51-4710-96F8-78ABB1DE0CA0}" presName="vertThree" presStyleCnt="0"/>
      <dgm:spPr/>
    </dgm:pt>
    <dgm:pt modelId="{2595DE9B-56E6-4317-A120-D24001D4CDC3}" type="pres">
      <dgm:prSet presAssocID="{25302B53-6A51-4710-96F8-78ABB1DE0CA0}" presName="txThree" presStyleLbl="node3" presStyleIdx="1" presStyleCnt="2" custLinFactX="-8601" custLinFactY="-9871" custLinFactNeighborX="-100000" custLinFactNeighborY="-100000">
        <dgm:presLayoutVars>
          <dgm:chPref val="3"/>
        </dgm:presLayoutVars>
      </dgm:prSet>
      <dgm:spPr/>
    </dgm:pt>
    <dgm:pt modelId="{7793130B-EEE8-4C7A-B976-B121CC3E71F1}" type="pres">
      <dgm:prSet presAssocID="{25302B53-6A51-4710-96F8-78ABB1DE0CA0}" presName="horzThree" presStyleCnt="0"/>
      <dgm:spPr/>
    </dgm:pt>
  </dgm:ptLst>
  <dgm:cxnLst>
    <dgm:cxn modelId="{477D8816-E6B6-482D-AD3A-D765D2FA96D0}" type="presOf" srcId="{5C208612-5DE7-40FD-AB85-24F5FEE384E8}" destId="{5C2742FE-7329-4DDC-BC71-07253AC9681B}" srcOrd="0" destOrd="0" presId="urn:microsoft.com/office/officeart/2005/8/layout/hierarchy4"/>
    <dgm:cxn modelId="{CAFB3D3B-2CBE-4A63-A203-199CFAEE5E70}" srcId="{E4D1BD34-AB22-431C-8FF4-D1B722B1EBA9}" destId="{6B35D56E-6707-4595-8455-BDB7BFF761EA}" srcOrd="0" destOrd="0" parTransId="{A3CAF740-9126-445C-894A-350E014E53C0}" sibTransId="{6F774487-1E45-4AB8-8A05-838BFF338925}"/>
    <dgm:cxn modelId="{8525CE99-8B7A-42AD-B98D-40CD5A6BD29D}" srcId="{5C208612-5DE7-40FD-AB85-24F5FEE384E8}" destId="{E4D1BD34-AB22-431C-8FF4-D1B722B1EBA9}" srcOrd="0" destOrd="0" parTransId="{DD9370DF-338E-4433-B01F-4FAB787800FC}" sibTransId="{9EC22442-CDEE-4A74-B620-99A6314C5829}"/>
    <dgm:cxn modelId="{5091359B-3242-456A-9662-F6ACBB6183E0}" type="presOf" srcId="{16BE57A8-444B-4ACE-971C-51039F4849F9}" destId="{30FF46CB-5EE4-404F-B592-88A5EB36026F}" srcOrd="0" destOrd="0" presId="urn:microsoft.com/office/officeart/2005/8/layout/hierarchy4"/>
    <dgm:cxn modelId="{B90A789F-4F0A-44B4-9B53-CC9676A539C2}" srcId="{16BE57A8-444B-4ACE-971C-51039F4849F9}" destId="{25302B53-6A51-4710-96F8-78ABB1DE0CA0}" srcOrd="0" destOrd="0" parTransId="{7BB07296-A576-47AE-9E1E-78AC60CAF7DD}" sibTransId="{98D58E38-4822-438A-B1F5-DB3E6F3C451E}"/>
    <dgm:cxn modelId="{C02F8CAA-EB5A-4D94-8954-A2B462E2DD79}" type="presOf" srcId="{6B35D56E-6707-4595-8455-BDB7BFF761EA}" destId="{D860588E-36D3-4090-A8EF-DA2D6AF23FE0}" srcOrd="0" destOrd="0" presId="urn:microsoft.com/office/officeart/2005/8/layout/hierarchy4"/>
    <dgm:cxn modelId="{04FB3CB5-47A0-400E-BFB3-C0BA80E6B601}" srcId="{5C208612-5DE7-40FD-AB85-24F5FEE384E8}" destId="{16BE57A8-444B-4ACE-971C-51039F4849F9}" srcOrd="1" destOrd="0" parTransId="{0C2DA5C0-422E-4119-A7F3-5F33B4E9AF21}" sibTransId="{D49DDD33-A70E-4673-BEF1-8CEE5BCD0F66}"/>
    <dgm:cxn modelId="{34EFD0C9-4A91-4FFC-A03D-28725A2A0DAF}" srcId="{29640B64-F787-42C6-896F-579E7EF0E3E7}" destId="{5C208612-5DE7-40FD-AB85-24F5FEE384E8}" srcOrd="0" destOrd="0" parTransId="{6278E673-ADC2-445E-B057-6514962C10BE}" sibTransId="{F8CBE19A-72DB-4FCA-88ED-475F831E94BC}"/>
    <dgm:cxn modelId="{656313DA-FC16-4E96-961F-71061561E727}" type="presOf" srcId="{25302B53-6A51-4710-96F8-78ABB1DE0CA0}" destId="{2595DE9B-56E6-4317-A120-D24001D4CDC3}" srcOrd="0" destOrd="0" presId="urn:microsoft.com/office/officeart/2005/8/layout/hierarchy4"/>
    <dgm:cxn modelId="{7EB20CE3-D4A5-4857-A63C-F45AA9C124C4}" type="presOf" srcId="{29640B64-F787-42C6-896F-579E7EF0E3E7}" destId="{8B4529E8-F0B1-4DF1-A5D9-C41B5B3A34E3}" srcOrd="0" destOrd="0" presId="urn:microsoft.com/office/officeart/2005/8/layout/hierarchy4"/>
    <dgm:cxn modelId="{4DC885F5-6458-4478-B8E1-87FC2E67EF0E}" type="presOf" srcId="{E4D1BD34-AB22-431C-8FF4-D1B722B1EBA9}" destId="{958FB0CF-2EA0-4CFE-9283-F26E975A5CDB}"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E75C625A-5C64-406B-BE24-BEC036BC3AFC}" type="presParOf" srcId="{0AC39A0B-5DD0-4828-AF09-44532F324E64}" destId="{D62E1C26-C196-495E-9895-4E64182E81B3}" srcOrd="0" destOrd="0" presId="urn:microsoft.com/office/officeart/2005/8/layout/hierarchy4"/>
    <dgm:cxn modelId="{9EF1838B-CACA-4D3E-B082-633E66473608}" type="presParOf" srcId="{D62E1C26-C196-495E-9895-4E64182E81B3}" destId="{958FB0CF-2EA0-4CFE-9283-F26E975A5CDB}" srcOrd="0" destOrd="0" presId="urn:microsoft.com/office/officeart/2005/8/layout/hierarchy4"/>
    <dgm:cxn modelId="{AA57C1EE-03CE-41D6-AE4B-A026B019C18C}" type="presParOf" srcId="{D62E1C26-C196-495E-9895-4E64182E81B3}" destId="{DFFC2E56-6A22-413E-9844-F7EC4ED3B96E}" srcOrd="1" destOrd="0" presId="urn:microsoft.com/office/officeart/2005/8/layout/hierarchy4"/>
    <dgm:cxn modelId="{1CCD82C4-9597-4AF3-9403-E2353493D219}" type="presParOf" srcId="{D62E1C26-C196-495E-9895-4E64182E81B3}" destId="{8904DE32-5DE2-4A56-9909-DDB28CE184CC}" srcOrd="2" destOrd="0" presId="urn:microsoft.com/office/officeart/2005/8/layout/hierarchy4"/>
    <dgm:cxn modelId="{F24C80E9-D1F6-4132-BEB1-92550ADEF70F}" type="presParOf" srcId="{8904DE32-5DE2-4A56-9909-DDB28CE184CC}" destId="{E0479348-ACC5-4E7F-A332-7EF4EF22F1E3}" srcOrd="0" destOrd="0" presId="urn:microsoft.com/office/officeart/2005/8/layout/hierarchy4"/>
    <dgm:cxn modelId="{B40C35BD-E152-4430-B915-79B56876F9E6}" type="presParOf" srcId="{E0479348-ACC5-4E7F-A332-7EF4EF22F1E3}" destId="{D860588E-36D3-4090-A8EF-DA2D6AF23FE0}" srcOrd="0" destOrd="0" presId="urn:microsoft.com/office/officeart/2005/8/layout/hierarchy4"/>
    <dgm:cxn modelId="{0CFF827E-C27C-41D8-BEAE-4036B9974240}" type="presParOf" srcId="{E0479348-ACC5-4E7F-A332-7EF4EF22F1E3}" destId="{9A71E779-F123-45B9-A34F-3E6555885E98}" srcOrd="1" destOrd="0" presId="urn:microsoft.com/office/officeart/2005/8/layout/hierarchy4"/>
    <dgm:cxn modelId="{E4A02E4C-4B8E-4E21-9C4B-28A18CF07FE8}" type="presParOf" srcId="{0AC39A0B-5DD0-4828-AF09-44532F324E64}" destId="{E0E7A5CB-9510-495B-BDED-5B1E5B88559A}" srcOrd="1" destOrd="0" presId="urn:microsoft.com/office/officeart/2005/8/layout/hierarchy4"/>
    <dgm:cxn modelId="{FD97D477-F6A7-480E-A72C-68B657C34BB4}" type="presParOf" srcId="{0AC39A0B-5DD0-4828-AF09-44532F324E64}" destId="{9462A209-414D-4EC6-AF5E-F3E689920139}" srcOrd="2" destOrd="0" presId="urn:microsoft.com/office/officeart/2005/8/layout/hierarchy4"/>
    <dgm:cxn modelId="{D2D1DCC9-5F62-43F3-9EB7-74E558FD3BC7}" type="presParOf" srcId="{9462A209-414D-4EC6-AF5E-F3E689920139}" destId="{30FF46CB-5EE4-404F-B592-88A5EB36026F}" srcOrd="0" destOrd="0" presId="urn:microsoft.com/office/officeart/2005/8/layout/hierarchy4"/>
    <dgm:cxn modelId="{D3A423C9-F641-46AA-89E1-65812B9BEC40}" type="presParOf" srcId="{9462A209-414D-4EC6-AF5E-F3E689920139}" destId="{C513F371-4A9C-430A-95A9-AD109EEC92DF}" srcOrd="1" destOrd="0" presId="urn:microsoft.com/office/officeart/2005/8/layout/hierarchy4"/>
    <dgm:cxn modelId="{67A0ABE2-D2B0-4A2A-B158-807EB7DE3616}" type="presParOf" srcId="{9462A209-414D-4EC6-AF5E-F3E689920139}" destId="{6A6AE19D-B50F-4CB7-93D6-35C47B536F5F}" srcOrd="2" destOrd="0" presId="urn:microsoft.com/office/officeart/2005/8/layout/hierarchy4"/>
    <dgm:cxn modelId="{27611745-2A24-41A2-9E5C-EC6D95ED36B4}" type="presParOf" srcId="{6A6AE19D-B50F-4CB7-93D6-35C47B536F5F}" destId="{B6B8B31B-8BBB-4890-9907-C2A1C188EBA1}" srcOrd="0" destOrd="0" presId="urn:microsoft.com/office/officeart/2005/8/layout/hierarchy4"/>
    <dgm:cxn modelId="{C6204B12-2873-4BF3-8078-A3DACF96E17D}" type="presParOf" srcId="{B6B8B31B-8BBB-4890-9907-C2A1C188EBA1}" destId="{2595DE9B-56E6-4317-A120-D24001D4CDC3}" srcOrd="0" destOrd="0" presId="urn:microsoft.com/office/officeart/2005/8/layout/hierarchy4"/>
    <dgm:cxn modelId="{AD223C37-65B4-4A51-9B64-C02D5B8F1244}" type="presParOf" srcId="{B6B8B31B-8BBB-4890-9907-C2A1C188EBA1}" destId="{7793130B-EEE8-4C7A-B976-B121CC3E71F1}"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rtl="0"/>
          <a:r>
            <a:rPr lang="en-US" sz="2400" b="1">
              <a:solidFill>
                <a:schemeClr val="bg1"/>
              </a:solidFill>
            </a:rPr>
            <a:t>Supplemental Aids </a:t>
          </a:r>
          <a:r>
            <a:rPr lang="en-US" sz="2000" b="0">
              <a:solidFill>
                <a:schemeClr val="bg1"/>
              </a:solidFill>
            </a:rPr>
            <a:t>(continued):</a:t>
          </a:r>
          <a:r>
            <a:rPr lang="en-US" sz="2400" b="0">
              <a:latin typeface="Calibri Light" panose="020F0302020204030204"/>
            </a:rPr>
            <a:t> </a:t>
          </a:r>
          <a:endParaRPr lang="en-US" sz="24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6B35D56E-6707-4595-8455-BDB7BFF761EA}">
      <dgm:prSet phldrT="[Text]" custT="1"/>
      <dgm:spPr>
        <a:solidFill>
          <a:schemeClr val="bg1"/>
        </a:solidFill>
        <a:ln>
          <a:solidFill>
            <a:srgbClr val="F16038"/>
          </a:solidFill>
        </a:ln>
      </dgm:spPr>
      <dgm:t>
        <a:bodyPr/>
        <a:lstStyle/>
        <a:p>
          <a:pPr algn="l" rtl="0"/>
          <a:r>
            <a:rPr lang="en-US" sz="2000" b="1" i="0">
              <a:solidFill>
                <a:srgbClr val="0D6CB9"/>
              </a:solidFill>
            </a:rPr>
            <a:t>Only </a:t>
          </a:r>
          <a:r>
            <a:rPr lang="en-US" sz="2000" b="0" i="0">
              <a:solidFill>
                <a:srgbClr val="0D6CB9"/>
              </a:solidFill>
            </a:rPr>
            <a:t>the paper-based supplemental aids listed below are allowed on the state assessment.</a:t>
          </a:r>
          <a:r>
            <a:rPr lang="en-US" sz="2000" b="0" i="0">
              <a:solidFill>
                <a:srgbClr val="0D6CB9"/>
              </a:solidFill>
              <a:latin typeface="Calibri Light" panose="020F0302020204030204"/>
            </a:rPr>
            <a:t> </a:t>
          </a:r>
          <a:endParaRPr lang="en-US" sz="2000" b="0" i="0">
            <a:solidFill>
              <a:srgbClr val="0D6CB9"/>
            </a:solidFill>
          </a:endParaRPr>
        </a:p>
        <a:p>
          <a:pPr algn="l" rtl="0"/>
          <a:r>
            <a:rPr lang="en-US" sz="2000" b="1" i="0">
              <a:solidFill>
                <a:srgbClr val="0D6CB9"/>
              </a:solidFill>
            </a:rPr>
            <a:t>NOTE: </a:t>
          </a:r>
          <a:r>
            <a:rPr lang="en-US" sz="2000" b="0" i="0">
              <a:solidFill>
                <a:srgbClr val="0D6CB9"/>
              </a:solidFill>
            </a:rPr>
            <a:t>TEA cannot make decisions on specific supplemental aids used for an individual student.</a:t>
          </a:r>
        </a:p>
        <a:p>
          <a:pPr algn="l"/>
          <a:r>
            <a:rPr lang="en-US" sz="2000" b="0" i="0">
              <a:solidFill>
                <a:srgbClr val="0D6CB9"/>
              </a:solidFill>
            </a:rPr>
            <a:t>Examples of allowable and non-allowable supplemental aids are available in the </a:t>
          </a:r>
          <a:r>
            <a:rPr lang="en-US" sz="2000" b="0" i="1">
              <a:solidFill>
                <a:srgbClr val="0D6CB9"/>
              </a:solidFill>
            </a:rPr>
            <a:t>Accommodations Allowable Supplemental Aids</a:t>
          </a:r>
          <a:r>
            <a:rPr lang="en-US" sz="2000" b="0" i="0">
              <a:solidFill>
                <a:srgbClr val="0D6CB9"/>
              </a:solidFill>
            </a:rPr>
            <a:t> training presentation on TEA’s Accommodation Resources webpage.</a:t>
          </a:r>
          <a:endParaRPr lang="en-US" sz="2000">
            <a:solidFill>
              <a:srgbClr val="0D6CB9"/>
            </a:solidFill>
          </a:endParaRPr>
        </a:p>
      </dgm:t>
    </dgm:pt>
    <dgm:pt modelId="{A3CAF740-9126-445C-894A-350E014E53C0}" type="parTrans" cxnId="{CAFB3D3B-2CBE-4A63-A203-199CFAEE5E70}">
      <dgm:prSet/>
      <dgm:spPr/>
      <dgm:t>
        <a:bodyPr/>
        <a:lstStyle/>
        <a:p>
          <a:endParaRPr lang="en-US"/>
        </a:p>
      </dgm:t>
    </dgm:pt>
    <dgm:pt modelId="{6F774487-1E45-4AB8-8A05-838BFF338925}" type="sibTrans" cxnId="{CAFB3D3B-2CBE-4A63-A203-199CFAEE5E70}">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53144" custLinFactY="-53144" custLinFactNeighborX="505" custLinFactNeighborY="-100000">
        <dgm:presLayoutVars>
          <dgm:chPref val="3"/>
        </dgm:presLayoutVars>
      </dgm:prSet>
      <dgm:spPr/>
    </dgm:pt>
    <dgm:pt modelId="{33AE3D73-BEA3-4A7B-9E65-B50E632C65F0}" type="pres">
      <dgm:prSet presAssocID="{5C208612-5DE7-40FD-AB85-24F5FEE384E8}" presName="parTransOne" presStyleCnt="0"/>
      <dgm:spPr/>
    </dgm:pt>
    <dgm:pt modelId="{0AC39A0B-5DD0-4828-AF09-44532F324E64}" type="pres">
      <dgm:prSet presAssocID="{5C208612-5DE7-40FD-AB85-24F5FEE384E8}" presName="horzOne" presStyleCnt="0"/>
      <dgm:spPr/>
    </dgm:pt>
    <dgm:pt modelId="{EC213326-5D79-401F-B01C-8559968977C4}" type="pres">
      <dgm:prSet presAssocID="{6B35D56E-6707-4595-8455-BDB7BFF761EA}" presName="vertTwo" presStyleCnt="0"/>
      <dgm:spPr/>
    </dgm:pt>
    <dgm:pt modelId="{53026FD3-D35D-4DAF-95CA-E18BFE9F2B31}" type="pres">
      <dgm:prSet presAssocID="{6B35D56E-6707-4595-8455-BDB7BFF761EA}" presName="txTwo" presStyleLbl="node2" presStyleIdx="0" presStyleCnt="1" custScaleY="84413" custLinFactNeighborY="-21090">
        <dgm:presLayoutVars>
          <dgm:chPref val="3"/>
        </dgm:presLayoutVars>
      </dgm:prSet>
      <dgm:spPr/>
    </dgm:pt>
    <dgm:pt modelId="{DC34ED61-E434-4BE8-BD0E-D058BCD3C99D}" type="pres">
      <dgm:prSet presAssocID="{6B35D56E-6707-4595-8455-BDB7BFF761EA}" presName="horzTwo" presStyleCnt="0"/>
      <dgm:spPr/>
    </dgm:pt>
  </dgm:ptLst>
  <dgm:cxnLst>
    <dgm:cxn modelId="{CA174714-B228-4274-90C0-6FB6EBC30915}" type="presOf" srcId="{6B35D56E-6707-4595-8455-BDB7BFF761EA}" destId="{53026FD3-D35D-4DAF-95CA-E18BFE9F2B31}" srcOrd="0" destOrd="0" presId="urn:microsoft.com/office/officeart/2005/8/layout/hierarchy4"/>
    <dgm:cxn modelId="{477D8816-E6B6-482D-AD3A-D765D2FA96D0}" type="presOf" srcId="{5C208612-5DE7-40FD-AB85-24F5FEE384E8}" destId="{5C2742FE-7329-4DDC-BC71-07253AC9681B}" srcOrd="0" destOrd="0" presId="urn:microsoft.com/office/officeart/2005/8/layout/hierarchy4"/>
    <dgm:cxn modelId="{CAFB3D3B-2CBE-4A63-A203-199CFAEE5E70}" srcId="{5C208612-5DE7-40FD-AB85-24F5FEE384E8}" destId="{6B35D56E-6707-4595-8455-BDB7BFF761EA}" srcOrd="0" destOrd="0" parTransId="{A3CAF740-9126-445C-894A-350E014E53C0}" sibTransId="{6F774487-1E45-4AB8-8A05-838BFF338925}"/>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E9072BA6-34CC-4925-9BC6-3BE63AC97A01}" type="presParOf" srcId="{0B5ECF28-8AD8-42A6-83E4-2EA0792223E2}" destId="{33AE3D73-BEA3-4A7B-9E65-B50E632C65F0}" srcOrd="1" destOrd="0" presId="urn:microsoft.com/office/officeart/2005/8/layout/hierarchy4"/>
    <dgm:cxn modelId="{0B0BE099-1581-4BDC-A48E-F3850A701977}" type="presParOf" srcId="{0B5ECF28-8AD8-42A6-83E4-2EA0792223E2}" destId="{0AC39A0B-5DD0-4828-AF09-44532F324E64}" srcOrd="2" destOrd="0" presId="urn:microsoft.com/office/officeart/2005/8/layout/hierarchy4"/>
    <dgm:cxn modelId="{7E5EE00E-4A9D-4C0A-ACD8-46C61DAA02F1}" type="presParOf" srcId="{0AC39A0B-5DD0-4828-AF09-44532F324E64}" destId="{EC213326-5D79-401F-B01C-8559968977C4}" srcOrd="0" destOrd="0" presId="urn:microsoft.com/office/officeart/2005/8/layout/hierarchy4"/>
    <dgm:cxn modelId="{4263EDFD-4BE4-43E7-B28C-BA714A18D823}" type="presParOf" srcId="{EC213326-5D79-401F-B01C-8559968977C4}" destId="{53026FD3-D35D-4DAF-95CA-E18BFE9F2B31}" srcOrd="0" destOrd="0" presId="urn:microsoft.com/office/officeart/2005/8/layout/hierarchy4"/>
    <dgm:cxn modelId="{8C51A745-1F9C-4C75-AEA2-25E49BAC341D}" type="presParOf" srcId="{EC213326-5D79-401F-B01C-8559968977C4}" destId="{DC34ED61-E434-4BE8-BD0E-D058BCD3C99D}"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90EF884-4D32-4F27-92BB-54EF1879D4D9}" type="doc">
      <dgm:prSet loTypeId="urn:microsoft.com/office/officeart/2005/8/layout/vList3" loCatId="list" qsTypeId="urn:microsoft.com/office/officeart/2005/8/quickstyle/simple1" qsCatId="simple" csTypeId="urn:microsoft.com/office/officeart/2005/8/colors/accent1_2" csCatId="accent1" phldr="1"/>
      <dgm:spPr/>
    </dgm:pt>
    <dgm:pt modelId="{3B9958C6-F1C8-4082-AD43-9B2A376DBB7F}">
      <dgm:prSet phldrT="[Text]"/>
      <dgm:spPr/>
      <dgm:t>
        <a:bodyPr/>
        <a:lstStyle/>
        <a:p>
          <a:r>
            <a:rPr lang="en-US" b="0" i="0">
              <a:solidFill>
                <a:schemeClr val="bg1"/>
              </a:solidFill>
              <a:effectLst/>
            </a:rPr>
            <a:t>Juvenile Justice Alternative Education </a:t>
          </a:r>
          <a:endParaRPr lang="en-US">
            <a:solidFill>
              <a:schemeClr val="bg1"/>
            </a:solidFill>
          </a:endParaRPr>
        </a:p>
      </dgm:t>
    </dgm:pt>
    <dgm:pt modelId="{F2999A54-33E4-49C1-8129-4AF11506C847}" type="parTrans" cxnId="{4580263E-91AB-46E3-900A-ADEEBE920B75}">
      <dgm:prSet/>
      <dgm:spPr/>
      <dgm:t>
        <a:bodyPr/>
        <a:lstStyle/>
        <a:p>
          <a:endParaRPr lang="en-US"/>
        </a:p>
      </dgm:t>
    </dgm:pt>
    <dgm:pt modelId="{2BAAA8A1-F793-43D7-A621-6F080AFBB9A2}" type="sibTrans" cxnId="{4580263E-91AB-46E3-900A-ADEEBE920B75}">
      <dgm:prSet/>
      <dgm:spPr/>
      <dgm:t>
        <a:bodyPr/>
        <a:lstStyle/>
        <a:p>
          <a:endParaRPr lang="en-US"/>
        </a:p>
      </dgm:t>
    </dgm:pt>
    <dgm:pt modelId="{D7B36A09-2771-4F0F-A400-F4AFD9A29BE6}">
      <dgm:prSet phldrT="[Text]"/>
      <dgm:spPr/>
      <dgm:t>
        <a:bodyPr/>
        <a:lstStyle/>
        <a:p>
          <a:r>
            <a:rPr lang="en-US">
              <a:solidFill>
                <a:schemeClr val="bg1"/>
              </a:solidFill>
              <a:effectLst/>
            </a:rPr>
            <a:t>Homebound Student Without Internet</a:t>
          </a:r>
          <a:endParaRPr lang="en-US">
            <a:solidFill>
              <a:schemeClr val="bg1"/>
            </a:solidFill>
          </a:endParaRPr>
        </a:p>
      </dgm:t>
    </dgm:pt>
    <dgm:pt modelId="{4A7E9430-52E3-40CD-9A0D-3A1059BCA7EF}" type="parTrans" cxnId="{69A88728-D46C-4E32-B136-6363BF7C7367}">
      <dgm:prSet/>
      <dgm:spPr/>
      <dgm:t>
        <a:bodyPr/>
        <a:lstStyle/>
        <a:p>
          <a:endParaRPr lang="en-US"/>
        </a:p>
      </dgm:t>
    </dgm:pt>
    <dgm:pt modelId="{860668D6-2D44-4C09-94A0-8ABCEFFA7DFA}" type="sibTrans" cxnId="{69A88728-D46C-4E32-B136-6363BF7C7367}">
      <dgm:prSet/>
      <dgm:spPr/>
      <dgm:t>
        <a:bodyPr/>
        <a:lstStyle/>
        <a:p>
          <a:endParaRPr lang="en-US"/>
        </a:p>
      </dgm:t>
    </dgm:pt>
    <dgm:pt modelId="{2E0FC55D-D3E3-467F-B154-303711623026}">
      <dgm:prSet phldrT="[Text]"/>
      <dgm:spPr/>
      <dgm:t>
        <a:bodyPr/>
        <a:lstStyle/>
        <a:p>
          <a:r>
            <a:rPr lang="en-US" b="0" i="0">
              <a:solidFill>
                <a:schemeClr val="bg1"/>
              </a:solidFill>
              <a:effectLst/>
            </a:rPr>
            <a:t>Emergency Medical Situations </a:t>
          </a:r>
          <a:endParaRPr lang="en-US">
            <a:solidFill>
              <a:schemeClr val="bg1"/>
            </a:solidFill>
          </a:endParaRPr>
        </a:p>
      </dgm:t>
    </dgm:pt>
    <dgm:pt modelId="{8BB0EE44-7A9A-41E1-9FB5-81BB1424789A}" type="parTrans" cxnId="{4680673D-8582-40E1-9049-F58B762102C5}">
      <dgm:prSet/>
      <dgm:spPr/>
      <dgm:t>
        <a:bodyPr/>
        <a:lstStyle/>
        <a:p>
          <a:endParaRPr lang="en-US"/>
        </a:p>
      </dgm:t>
    </dgm:pt>
    <dgm:pt modelId="{5889CE57-C499-40D8-B0F9-0AD1ADFC1989}" type="sibTrans" cxnId="{4680673D-8582-40E1-9049-F58B762102C5}">
      <dgm:prSet/>
      <dgm:spPr/>
      <dgm:t>
        <a:bodyPr/>
        <a:lstStyle/>
        <a:p>
          <a:endParaRPr lang="en-US"/>
        </a:p>
      </dgm:t>
    </dgm:pt>
    <dgm:pt modelId="{55BB1018-97AE-4302-BD28-B8C2C98C0AC7}" type="pres">
      <dgm:prSet presAssocID="{E90EF884-4D32-4F27-92BB-54EF1879D4D9}" presName="linearFlow" presStyleCnt="0">
        <dgm:presLayoutVars>
          <dgm:dir/>
          <dgm:resizeHandles val="exact"/>
        </dgm:presLayoutVars>
      </dgm:prSet>
      <dgm:spPr/>
    </dgm:pt>
    <dgm:pt modelId="{7D361CD3-5F3D-49C1-AEBB-D01D8BBD1A8F}" type="pres">
      <dgm:prSet presAssocID="{3B9958C6-F1C8-4082-AD43-9B2A376DBB7F}" presName="composite" presStyleCnt="0"/>
      <dgm:spPr/>
    </dgm:pt>
    <dgm:pt modelId="{108D46DC-A417-4D99-B08C-EB3C26C8F441}" type="pres">
      <dgm:prSet presAssocID="{3B9958C6-F1C8-4082-AD43-9B2A376DBB7F}" presName="imgShp" presStyleLbl="fgImgPlace1" presStyleIdx="0" presStyleCnt="3" custLinFactNeighborX="-37354" custLinFactNeighborY="-43"/>
      <dgm:spPr>
        <a:blipFill>
          <a:blip xmlns:r="http://schemas.openxmlformats.org/officeDocument/2006/relationships" r:embed="rId1">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a:solidFill>
            <a:schemeClr val="accent1"/>
          </a:solidFill>
        </a:ln>
      </dgm:spPr>
      <dgm:extLst>
        <a:ext uri="{E40237B7-FDA0-4F09-8148-C483321AD2D9}">
          <dgm14:cNvPr xmlns:dgm14="http://schemas.microsoft.com/office/drawing/2010/diagram" id="0" name="" descr="Gavel with solid fill"/>
        </a:ext>
      </dgm:extLst>
    </dgm:pt>
    <dgm:pt modelId="{089F6DE5-C10E-47FD-824A-44B3CF7A0429}" type="pres">
      <dgm:prSet presAssocID="{3B9958C6-F1C8-4082-AD43-9B2A376DBB7F}" presName="txShp" presStyleLbl="node1" presStyleIdx="0" presStyleCnt="3">
        <dgm:presLayoutVars>
          <dgm:bulletEnabled val="1"/>
        </dgm:presLayoutVars>
      </dgm:prSet>
      <dgm:spPr/>
    </dgm:pt>
    <dgm:pt modelId="{C3B96D16-FD70-4DFE-87DA-A4ABDED4EE7A}" type="pres">
      <dgm:prSet presAssocID="{2BAAA8A1-F793-43D7-A621-6F080AFBB9A2}" presName="spacing" presStyleCnt="0"/>
      <dgm:spPr/>
    </dgm:pt>
    <dgm:pt modelId="{983B6C98-C33D-4856-A1BB-B00FC63BCBF0}" type="pres">
      <dgm:prSet presAssocID="{D7B36A09-2771-4F0F-A400-F4AFD9A29BE6}" presName="composite" presStyleCnt="0"/>
      <dgm:spPr/>
    </dgm:pt>
    <dgm:pt modelId="{BC927F3D-9FCB-456C-80AC-72965B28E00F}" type="pres">
      <dgm:prSet presAssocID="{D7B36A09-2771-4F0F-A400-F4AFD9A29BE6}" presName="imgShp" presStyleLbl="fgImgPlace1" presStyleIdx="1" presStyleCnt="3" custLinFactNeighborX="-37354" custLinFactNeighborY="4685"/>
      <dgm:spPr>
        <a:blipFill>
          <a:blip xmlns:r="http://schemas.openxmlformats.org/officeDocument/2006/relationships" r:embed="rId3">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38100">
          <a:solidFill>
            <a:schemeClr val="accent1"/>
          </a:solidFill>
        </a:ln>
      </dgm:spPr>
      <dgm:extLst>
        <a:ext uri="{E40237B7-FDA0-4F09-8148-C483321AD2D9}">
          <dgm14:cNvPr xmlns:dgm14="http://schemas.microsoft.com/office/drawing/2010/diagram" id="0" name="" descr="Home with solid fill"/>
        </a:ext>
      </dgm:extLst>
    </dgm:pt>
    <dgm:pt modelId="{D999BAFC-F6DF-460B-84DE-7F66B6B17499}" type="pres">
      <dgm:prSet presAssocID="{D7B36A09-2771-4F0F-A400-F4AFD9A29BE6}" presName="txShp" presStyleLbl="node1" presStyleIdx="1" presStyleCnt="3" custLinFactNeighborX="-597" custLinFactNeighborY="0">
        <dgm:presLayoutVars>
          <dgm:bulletEnabled val="1"/>
        </dgm:presLayoutVars>
      </dgm:prSet>
      <dgm:spPr/>
    </dgm:pt>
    <dgm:pt modelId="{B0481E9B-4FE0-40E7-B22B-1A91754FF57A}" type="pres">
      <dgm:prSet presAssocID="{860668D6-2D44-4C09-94A0-8ABCEFFA7DFA}" presName="spacing" presStyleCnt="0"/>
      <dgm:spPr/>
    </dgm:pt>
    <dgm:pt modelId="{F3B70843-A469-4AB7-811C-F875361F32FC}" type="pres">
      <dgm:prSet presAssocID="{2E0FC55D-D3E3-467F-B154-303711623026}" presName="composite" presStyleCnt="0"/>
      <dgm:spPr/>
    </dgm:pt>
    <dgm:pt modelId="{9C7BC514-A902-4BCB-AC1D-03CC6EAAB9F9}" type="pres">
      <dgm:prSet presAssocID="{2E0FC55D-D3E3-467F-B154-303711623026}" presName="imgShp" presStyleLbl="fgImgPlace1" presStyleIdx="2" presStyleCnt="3" custLinFactNeighborX="-37354" custLinFactNeighborY="4902"/>
      <dgm:spPr>
        <a:blipFill>
          <a:blip xmlns:r="http://schemas.openxmlformats.org/officeDocument/2006/relationships" r:embed="rId5">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38100">
          <a:solidFill>
            <a:schemeClr val="accent1"/>
          </a:solidFill>
        </a:ln>
      </dgm:spPr>
      <dgm:extLst>
        <a:ext uri="{E40237B7-FDA0-4F09-8148-C483321AD2D9}">
          <dgm14:cNvPr xmlns:dgm14="http://schemas.microsoft.com/office/drawing/2010/diagram" id="0" name="" descr="Adhesive Bandage with solid fill"/>
        </a:ext>
      </dgm:extLst>
    </dgm:pt>
    <dgm:pt modelId="{F89D9D72-1A76-4228-8AA7-21CD490280BB}" type="pres">
      <dgm:prSet presAssocID="{2E0FC55D-D3E3-467F-B154-303711623026}" presName="txShp" presStyleLbl="node1" presStyleIdx="2" presStyleCnt="3">
        <dgm:presLayoutVars>
          <dgm:bulletEnabled val="1"/>
        </dgm:presLayoutVars>
      </dgm:prSet>
      <dgm:spPr/>
    </dgm:pt>
  </dgm:ptLst>
  <dgm:cxnLst>
    <dgm:cxn modelId="{AC307D24-6AC6-4A62-941E-74D80D4D9850}" type="presOf" srcId="{2E0FC55D-D3E3-467F-B154-303711623026}" destId="{F89D9D72-1A76-4228-8AA7-21CD490280BB}" srcOrd="0" destOrd="0" presId="urn:microsoft.com/office/officeart/2005/8/layout/vList3"/>
    <dgm:cxn modelId="{69A88728-D46C-4E32-B136-6363BF7C7367}" srcId="{E90EF884-4D32-4F27-92BB-54EF1879D4D9}" destId="{D7B36A09-2771-4F0F-A400-F4AFD9A29BE6}" srcOrd="1" destOrd="0" parTransId="{4A7E9430-52E3-40CD-9A0D-3A1059BCA7EF}" sibTransId="{860668D6-2D44-4C09-94A0-8ABCEFFA7DFA}"/>
    <dgm:cxn modelId="{E5238434-3CED-45BC-A629-C0FDDB7D0102}" type="presOf" srcId="{D7B36A09-2771-4F0F-A400-F4AFD9A29BE6}" destId="{D999BAFC-F6DF-460B-84DE-7F66B6B17499}" srcOrd="0" destOrd="0" presId="urn:microsoft.com/office/officeart/2005/8/layout/vList3"/>
    <dgm:cxn modelId="{4680673D-8582-40E1-9049-F58B762102C5}" srcId="{E90EF884-4D32-4F27-92BB-54EF1879D4D9}" destId="{2E0FC55D-D3E3-467F-B154-303711623026}" srcOrd="2" destOrd="0" parTransId="{8BB0EE44-7A9A-41E1-9FB5-81BB1424789A}" sibTransId="{5889CE57-C499-40D8-B0F9-0AD1ADFC1989}"/>
    <dgm:cxn modelId="{4580263E-91AB-46E3-900A-ADEEBE920B75}" srcId="{E90EF884-4D32-4F27-92BB-54EF1879D4D9}" destId="{3B9958C6-F1C8-4082-AD43-9B2A376DBB7F}" srcOrd="0" destOrd="0" parTransId="{F2999A54-33E4-49C1-8129-4AF11506C847}" sibTransId="{2BAAA8A1-F793-43D7-A621-6F080AFBB9A2}"/>
    <dgm:cxn modelId="{7572838D-6E53-4190-83F8-75D45F1D482D}" type="presOf" srcId="{E90EF884-4D32-4F27-92BB-54EF1879D4D9}" destId="{55BB1018-97AE-4302-BD28-B8C2C98C0AC7}" srcOrd="0" destOrd="0" presId="urn:microsoft.com/office/officeart/2005/8/layout/vList3"/>
    <dgm:cxn modelId="{ABEE08B4-A79E-4138-A5CE-3EBF6CF8A34E}" type="presOf" srcId="{3B9958C6-F1C8-4082-AD43-9B2A376DBB7F}" destId="{089F6DE5-C10E-47FD-824A-44B3CF7A0429}" srcOrd="0" destOrd="0" presId="urn:microsoft.com/office/officeart/2005/8/layout/vList3"/>
    <dgm:cxn modelId="{25E670FF-8427-432B-B64A-30D0D430225E}" type="presParOf" srcId="{55BB1018-97AE-4302-BD28-B8C2C98C0AC7}" destId="{7D361CD3-5F3D-49C1-AEBB-D01D8BBD1A8F}" srcOrd="0" destOrd="0" presId="urn:microsoft.com/office/officeart/2005/8/layout/vList3"/>
    <dgm:cxn modelId="{E096C164-8018-4C23-9848-1E9CF315A540}" type="presParOf" srcId="{7D361CD3-5F3D-49C1-AEBB-D01D8BBD1A8F}" destId="{108D46DC-A417-4D99-B08C-EB3C26C8F441}" srcOrd="0" destOrd="0" presId="urn:microsoft.com/office/officeart/2005/8/layout/vList3"/>
    <dgm:cxn modelId="{EC25EFA5-94D8-42BA-88D2-6327B99B9D67}" type="presParOf" srcId="{7D361CD3-5F3D-49C1-AEBB-D01D8BBD1A8F}" destId="{089F6DE5-C10E-47FD-824A-44B3CF7A0429}" srcOrd="1" destOrd="0" presId="urn:microsoft.com/office/officeart/2005/8/layout/vList3"/>
    <dgm:cxn modelId="{638962C8-77DB-41CF-A8B4-7AE821FAAB99}" type="presParOf" srcId="{55BB1018-97AE-4302-BD28-B8C2C98C0AC7}" destId="{C3B96D16-FD70-4DFE-87DA-A4ABDED4EE7A}" srcOrd="1" destOrd="0" presId="urn:microsoft.com/office/officeart/2005/8/layout/vList3"/>
    <dgm:cxn modelId="{AA0476C8-4C32-4121-8AAE-7A583A35394B}" type="presParOf" srcId="{55BB1018-97AE-4302-BD28-B8C2C98C0AC7}" destId="{983B6C98-C33D-4856-A1BB-B00FC63BCBF0}" srcOrd="2" destOrd="0" presId="urn:microsoft.com/office/officeart/2005/8/layout/vList3"/>
    <dgm:cxn modelId="{E1C38DC2-24E4-4DF3-A358-98EAC3D7F270}" type="presParOf" srcId="{983B6C98-C33D-4856-A1BB-B00FC63BCBF0}" destId="{BC927F3D-9FCB-456C-80AC-72965B28E00F}" srcOrd="0" destOrd="0" presId="urn:microsoft.com/office/officeart/2005/8/layout/vList3"/>
    <dgm:cxn modelId="{30704176-EABC-49BE-82D5-651CE9EA3208}" type="presParOf" srcId="{983B6C98-C33D-4856-A1BB-B00FC63BCBF0}" destId="{D999BAFC-F6DF-460B-84DE-7F66B6B17499}" srcOrd="1" destOrd="0" presId="urn:microsoft.com/office/officeart/2005/8/layout/vList3"/>
    <dgm:cxn modelId="{086A0BCB-7136-45F2-97DC-3F63E98DD304}" type="presParOf" srcId="{55BB1018-97AE-4302-BD28-B8C2C98C0AC7}" destId="{B0481E9B-4FE0-40E7-B22B-1A91754FF57A}" srcOrd="3" destOrd="0" presId="urn:microsoft.com/office/officeart/2005/8/layout/vList3"/>
    <dgm:cxn modelId="{9668C00A-23ED-43B8-9CE2-BB551C5B92E0}" type="presParOf" srcId="{55BB1018-97AE-4302-BD28-B8C2C98C0AC7}" destId="{F3B70843-A469-4AB7-811C-F875361F32FC}" srcOrd="4" destOrd="0" presId="urn:microsoft.com/office/officeart/2005/8/layout/vList3"/>
    <dgm:cxn modelId="{72E2D050-F4C6-49BD-A890-D738CA23043C}" type="presParOf" srcId="{F3B70843-A469-4AB7-811C-F875361F32FC}" destId="{9C7BC514-A902-4BCB-AC1D-03CC6EAAB9F9}" srcOrd="0" destOrd="0" presId="urn:microsoft.com/office/officeart/2005/8/layout/vList3"/>
    <dgm:cxn modelId="{A24D2AE6-C15E-4CAB-836B-2E5C1E959596}" type="presParOf" srcId="{F3B70843-A469-4AB7-811C-F875361F32FC}" destId="{F89D9D72-1A76-4228-8AA7-21CD490280BB}"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29640B64-F787-42C6-896F-579E7EF0E3E7}"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5C208612-5DE7-40FD-AB85-24F5FEE384E8}">
      <dgm:prSet phldrT="[Text]" custT="1"/>
      <dgm:spPr>
        <a:solidFill>
          <a:srgbClr val="F16038"/>
        </a:solidFill>
      </dgm:spPr>
      <dgm:t>
        <a:bodyPr anchor="t"/>
        <a:lstStyle/>
        <a:p>
          <a:pPr algn="l"/>
          <a:r>
            <a:rPr lang="en-US" sz="2400" b="1">
              <a:solidFill>
                <a:schemeClr val="bg1"/>
              </a:solidFill>
            </a:rPr>
            <a:t>Supplemental Aids </a:t>
          </a:r>
          <a:r>
            <a:rPr lang="en-US" sz="2000" b="0">
              <a:solidFill>
                <a:schemeClr val="bg1"/>
              </a:solidFill>
            </a:rPr>
            <a:t>(continued): </a:t>
          </a:r>
          <a:endParaRPr lang="en-US" sz="2400" b="0"/>
        </a:p>
      </dgm:t>
    </dgm:pt>
    <dgm:pt modelId="{6278E673-ADC2-445E-B057-6514962C10BE}" type="parTrans" cxnId="{34EFD0C9-4A91-4FFC-A03D-28725A2A0DAF}">
      <dgm:prSet/>
      <dgm:spPr/>
      <dgm:t>
        <a:bodyPr/>
        <a:lstStyle/>
        <a:p>
          <a:endParaRPr lang="en-US"/>
        </a:p>
      </dgm:t>
    </dgm:pt>
    <dgm:pt modelId="{F8CBE19A-72DB-4FCA-88ED-475F831E94BC}" type="sibTrans" cxnId="{34EFD0C9-4A91-4FFC-A03D-28725A2A0DAF}">
      <dgm:prSet/>
      <dgm:spPr/>
      <dgm:t>
        <a:bodyPr/>
        <a:lstStyle/>
        <a:p>
          <a:endParaRPr lang="en-US"/>
        </a:p>
      </dgm:t>
    </dgm:pt>
    <dgm:pt modelId="{8B4529E8-F0B1-4DF1-A5D9-C41B5B3A34E3}" type="pres">
      <dgm:prSet presAssocID="{29640B64-F787-42C6-896F-579E7EF0E3E7}" presName="Name0" presStyleCnt="0">
        <dgm:presLayoutVars>
          <dgm:chPref val="1"/>
          <dgm:dir/>
          <dgm:animOne val="branch"/>
          <dgm:animLvl val="lvl"/>
          <dgm:resizeHandles/>
        </dgm:presLayoutVars>
      </dgm:prSet>
      <dgm:spPr/>
    </dgm:pt>
    <dgm:pt modelId="{0B5ECF28-8AD8-42A6-83E4-2EA0792223E2}" type="pres">
      <dgm:prSet presAssocID="{5C208612-5DE7-40FD-AB85-24F5FEE384E8}" presName="vertOne" presStyleCnt="0"/>
      <dgm:spPr/>
    </dgm:pt>
    <dgm:pt modelId="{5C2742FE-7329-4DDC-BC71-07253AC9681B}" type="pres">
      <dgm:prSet presAssocID="{5C208612-5DE7-40FD-AB85-24F5FEE384E8}" presName="txOne" presStyleLbl="node0" presStyleIdx="0" presStyleCnt="1" custScaleY="38939" custLinFactY="-53144" custLinFactNeighborX="505" custLinFactNeighborY="-100000">
        <dgm:presLayoutVars>
          <dgm:chPref val="3"/>
        </dgm:presLayoutVars>
      </dgm:prSet>
      <dgm:spPr/>
    </dgm:pt>
    <dgm:pt modelId="{0AC39A0B-5DD0-4828-AF09-44532F324E64}" type="pres">
      <dgm:prSet presAssocID="{5C208612-5DE7-40FD-AB85-24F5FEE384E8}" presName="horzOne" presStyleCnt="0"/>
      <dgm:spPr/>
    </dgm:pt>
  </dgm:ptLst>
  <dgm:cxnLst>
    <dgm:cxn modelId="{477D8816-E6B6-482D-AD3A-D765D2FA96D0}" type="presOf" srcId="{5C208612-5DE7-40FD-AB85-24F5FEE384E8}" destId="{5C2742FE-7329-4DDC-BC71-07253AC9681B}" srcOrd="0" destOrd="0" presId="urn:microsoft.com/office/officeart/2005/8/layout/hierarchy4"/>
    <dgm:cxn modelId="{34EFD0C9-4A91-4FFC-A03D-28725A2A0DAF}" srcId="{29640B64-F787-42C6-896F-579E7EF0E3E7}" destId="{5C208612-5DE7-40FD-AB85-24F5FEE384E8}" srcOrd="0" destOrd="0" parTransId="{6278E673-ADC2-445E-B057-6514962C10BE}" sibTransId="{F8CBE19A-72DB-4FCA-88ED-475F831E94BC}"/>
    <dgm:cxn modelId="{7EB20CE3-D4A5-4857-A63C-F45AA9C124C4}" type="presOf" srcId="{29640B64-F787-42C6-896F-579E7EF0E3E7}" destId="{8B4529E8-F0B1-4DF1-A5D9-C41B5B3A34E3}" srcOrd="0" destOrd="0" presId="urn:microsoft.com/office/officeart/2005/8/layout/hierarchy4"/>
    <dgm:cxn modelId="{31343538-E6A4-4B78-8E1F-F4E46076924F}" type="presParOf" srcId="{8B4529E8-F0B1-4DF1-A5D9-C41B5B3A34E3}" destId="{0B5ECF28-8AD8-42A6-83E4-2EA0792223E2}" srcOrd="0" destOrd="0" presId="urn:microsoft.com/office/officeart/2005/8/layout/hierarchy4"/>
    <dgm:cxn modelId="{8153FE6F-877B-4603-9A91-84BD383A23F2}" type="presParOf" srcId="{0B5ECF28-8AD8-42A6-83E4-2EA0792223E2}" destId="{5C2742FE-7329-4DDC-BC71-07253AC9681B}" srcOrd="0" destOrd="0" presId="urn:microsoft.com/office/officeart/2005/8/layout/hierarchy4"/>
    <dgm:cxn modelId="{0B0BE099-1581-4BDC-A48E-F3850A701977}" type="presParOf" srcId="{0B5ECF28-8AD8-42A6-83E4-2EA0792223E2}" destId="{0AC39A0B-5DD0-4828-AF09-44532F324E64}" srcOrd="1" destOrd="0" presId="urn:microsoft.com/office/officeart/2005/8/layout/hierarchy4"/>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BF827A54-1335-445B-9D29-B148D01A5DD8}" type="doc">
      <dgm:prSet loTypeId="urn:microsoft.com/office/officeart/2005/8/layout/vList3" loCatId="list" qsTypeId="urn:microsoft.com/office/officeart/2005/8/quickstyle/simple1" qsCatId="simple" csTypeId="urn:microsoft.com/office/officeart/2005/8/colors/accent1_2" csCatId="accent1" phldr="1"/>
      <dgm:spPr/>
    </dgm:pt>
    <dgm:pt modelId="{819814F3-0291-4AA4-BC56-2DCE47155AF3}">
      <dgm:prSet phldrT="[Text]" custT="1"/>
      <dgm:spPr>
        <a:solidFill>
          <a:schemeClr val="accent6"/>
        </a:solidFill>
      </dgm:spPr>
      <dgm:t>
        <a:bodyPr/>
        <a:lstStyle/>
        <a:p>
          <a:r>
            <a:rPr lang="en-US" sz="3200"/>
            <a:t>Complex Transcribing</a:t>
          </a:r>
        </a:p>
      </dgm:t>
    </dgm:pt>
    <dgm:pt modelId="{8240E088-7207-41F9-9380-E1E61F4AA91E}" type="parTrans" cxnId="{58A9B4A0-1C86-41CD-A34F-5E533745400C}">
      <dgm:prSet/>
      <dgm:spPr/>
      <dgm:t>
        <a:bodyPr/>
        <a:lstStyle/>
        <a:p>
          <a:endParaRPr lang="en-US"/>
        </a:p>
      </dgm:t>
    </dgm:pt>
    <dgm:pt modelId="{413C6A79-F66D-4D05-A53C-D8229BD204DD}" type="sibTrans" cxnId="{58A9B4A0-1C86-41CD-A34F-5E533745400C}">
      <dgm:prSet/>
      <dgm:spPr/>
      <dgm:t>
        <a:bodyPr/>
        <a:lstStyle/>
        <a:p>
          <a:endParaRPr lang="en-US"/>
        </a:p>
      </dgm:t>
    </dgm:pt>
    <dgm:pt modelId="{FD7A6582-CE8F-47C6-9CD3-7D9E5D6AD313}" type="pres">
      <dgm:prSet presAssocID="{BF827A54-1335-445B-9D29-B148D01A5DD8}" presName="linearFlow" presStyleCnt="0">
        <dgm:presLayoutVars>
          <dgm:dir/>
          <dgm:resizeHandles val="exact"/>
        </dgm:presLayoutVars>
      </dgm:prSet>
      <dgm:spPr/>
    </dgm:pt>
    <dgm:pt modelId="{02DFDF96-B815-4066-9BF1-F51419881ACB}" type="pres">
      <dgm:prSet presAssocID="{819814F3-0291-4AA4-BC56-2DCE47155AF3}" presName="composite" presStyleCnt="0"/>
      <dgm:spPr/>
    </dgm:pt>
    <dgm:pt modelId="{7300D119-1600-43AD-9D72-F9FFDFFE3AEF}" type="pres">
      <dgm:prSet presAssocID="{819814F3-0291-4AA4-BC56-2DCE47155AF3}" presName="imgShp" presStyleLbl="fgImgPlace1" presStyleIdx="0" presStyleCnt="1"/>
      <dgm:spPr>
        <a:solidFill>
          <a:schemeClr val="accent1">
            <a:lumMod val="20000"/>
            <a:lumOff val="80000"/>
          </a:schemeClr>
        </a:solidFill>
      </dgm:spPr>
    </dgm:pt>
    <dgm:pt modelId="{96EA403E-F988-4E45-867E-49A376D781BA}" type="pres">
      <dgm:prSet presAssocID="{819814F3-0291-4AA4-BC56-2DCE47155AF3}" presName="txShp" presStyleLbl="node1" presStyleIdx="0" presStyleCnt="1">
        <dgm:presLayoutVars>
          <dgm:bulletEnabled val="1"/>
        </dgm:presLayoutVars>
      </dgm:prSet>
      <dgm:spPr/>
    </dgm:pt>
  </dgm:ptLst>
  <dgm:cxnLst>
    <dgm:cxn modelId="{2CEB6700-5B94-4735-9D55-F784D288F8B3}" type="presOf" srcId="{BF827A54-1335-445B-9D29-B148D01A5DD8}" destId="{FD7A6582-CE8F-47C6-9CD3-7D9E5D6AD313}" srcOrd="0" destOrd="0" presId="urn:microsoft.com/office/officeart/2005/8/layout/vList3"/>
    <dgm:cxn modelId="{001B7B7C-0E7A-4324-A47D-CBD25650A490}" type="presOf" srcId="{819814F3-0291-4AA4-BC56-2DCE47155AF3}" destId="{96EA403E-F988-4E45-867E-49A376D781BA}" srcOrd="0" destOrd="0" presId="urn:microsoft.com/office/officeart/2005/8/layout/vList3"/>
    <dgm:cxn modelId="{58A9B4A0-1C86-41CD-A34F-5E533745400C}" srcId="{BF827A54-1335-445B-9D29-B148D01A5DD8}" destId="{819814F3-0291-4AA4-BC56-2DCE47155AF3}" srcOrd="0" destOrd="0" parTransId="{8240E088-7207-41F9-9380-E1E61F4AA91E}" sibTransId="{413C6A79-F66D-4D05-A53C-D8229BD204DD}"/>
    <dgm:cxn modelId="{7CAA80FF-52F6-44F4-BFFC-A1EB254E8B04}" type="presParOf" srcId="{FD7A6582-CE8F-47C6-9CD3-7D9E5D6AD313}" destId="{02DFDF96-B815-4066-9BF1-F51419881ACB}" srcOrd="0" destOrd="0" presId="urn:microsoft.com/office/officeart/2005/8/layout/vList3"/>
    <dgm:cxn modelId="{E2B3AD2B-A35D-4051-B340-76EA5C153DFA}" type="presParOf" srcId="{02DFDF96-B815-4066-9BF1-F51419881ACB}" destId="{7300D119-1600-43AD-9D72-F9FFDFFE3AEF}" srcOrd="0" destOrd="0" presId="urn:microsoft.com/office/officeart/2005/8/layout/vList3"/>
    <dgm:cxn modelId="{19771A4E-9672-4003-BCD6-960DEB2BEB83}" type="presParOf" srcId="{02DFDF96-B815-4066-9BF1-F51419881ACB}" destId="{96EA403E-F988-4E45-867E-49A376D781BA}" srcOrd="1" destOrd="0" presId="urn:microsoft.com/office/officeart/2005/8/layout/vList3"/>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BF827A54-1335-445B-9D29-B148D01A5DD8}" type="doc">
      <dgm:prSet loTypeId="urn:microsoft.com/office/officeart/2005/8/layout/vList3" loCatId="list" qsTypeId="urn:microsoft.com/office/officeart/2005/8/quickstyle/simple1" qsCatId="simple" csTypeId="urn:microsoft.com/office/officeart/2005/8/colors/accent1_2" csCatId="accent1" phldr="1"/>
      <dgm:spPr/>
    </dgm:pt>
    <dgm:pt modelId="{819814F3-0291-4AA4-BC56-2DCE47155AF3}">
      <dgm:prSet phldrT="[Text]" custT="1"/>
      <dgm:spPr>
        <a:solidFill>
          <a:srgbClr val="1F4E79"/>
        </a:solidFill>
      </dgm:spPr>
      <dgm:t>
        <a:bodyPr/>
        <a:lstStyle/>
        <a:p>
          <a:r>
            <a:rPr lang="en-US" sz="3200"/>
            <a:t>Mathematics Scribe</a:t>
          </a:r>
        </a:p>
      </dgm:t>
    </dgm:pt>
    <dgm:pt modelId="{8240E088-7207-41F9-9380-E1E61F4AA91E}" type="parTrans" cxnId="{58A9B4A0-1C86-41CD-A34F-5E533745400C}">
      <dgm:prSet/>
      <dgm:spPr/>
      <dgm:t>
        <a:bodyPr/>
        <a:lstStyle/>
        <a:p>
          <a:endParaRPr lang="en-US"/>
        </a:p>
      </dgm:t>
    </dgm:pt>
    <dgm:pt modelId="{413C6A79-F66D-4D05-A53C-D8229BD204DD}" type="sibTrans" cxnId="{58A9B4A0-1C86-41CD-A34F-5E533745400C}">
      <dgm:prSet/>
      <dgm:spPr/>
      <dgm:t>
        <a:bodyPr/>
        <a:lstStyle/>
        <a:p>
          <a:endParaRPr lang="en-US"/>
        </a:p>
      </dgm:t>
    </dgm:pt>
    <dgm:pt modelId="{FD7A6582-CE8F-47C6-9CD3-7D9E5D6AD313}" type="pres">
      <dgm:prSet presAssocID="{BF827A54-1335-445B-9D29-B148D01A5DD8}" presName="linearFlow" presStyleCnt="0">
        <dgm:presLayoutVars>
          <dgm:dir/>
          <dgm:resizeHandles val="exact"/>
        </dgm:presLayoutVars>
      </dgm:prSet>
      <dgm:spPr/>
    </dgm:pt>
    <dgm:pt modelId="{02DFDF96-B815-4066-9BF1-F51419881ACB}" type="pres">
      <dgm:prSet presAssocID="{819814F3-0291-4AA4-BC56-2DCE47155AF3}" presName="composite" presStyleCnt="0"/>
      <dgm:spPr/>
    </dgm:pt>
    <dgm:pt modelId="{7300D119-1600-43AD-9D72-F9FFDFFE3AEF}" type="pres">
      <dgm:prSet presAssocID="{819814F3-0291-4AA4-BC56-2DCE47155AF3}" presName="imgShp" presStyleLbl="fgImgPlace1" presStyleIdx="0" presStyleCnt="1"/>
      <dgm:spPr>
        <a:solidFill>
          <a:schemeClr val="accent1">
            <a:lumMod val="20000"/>
            <a:lumOff val="80000"/>
          </a:schemeClr>
        </a:solidFill>
      </dgm:spPr>
    </dgm:pt>
    <dgm:pt modelId="{96EA403E-F988-4E45-867E-49A376D781BA}" type="pres">
      <dgm:prSet presAssocID="{819814F3-0291-4AA4-BC56-2DCE47155AF3}" presName="txShp" presStyleLbl="node1" presStyleIdx="0" presStyleCnt="1">
        <dgm:presLayoutVars>
          <dgm:bulletEnabled val="1"/>
        </dgm:presLayoutVars>
      </dgm:prSet>
      <dgm:spPr/>
    </dgm:pt>
  </dgm:ptLst>
  <dgm:cxnLst>
    <dgm:cxn modelId="{2CEB6700-5B94-4735-9D55-F784D288F8B3}" type="presOf" srcId="{BF827A54-1335-445B-9D29-B148D01A5DD8}" destId="{FD7A6582-CE8F-47C6-9CD3-7D9E5D6AD313}" srcOrd="0" destOrd="0" presId="urn:microsoft.com/office/officeart/2005/8/layout/vList3"/>
    <dgm:cxn modelId="{001B7B7C-0E7A-4324-A47D-CBD25650A490}" type="presOf" srcId="{819814F3-0291-4AA4-BC56-2DCE47155AF3}" destId="{96EA403E-F988-4E45-867E-49A376D781BA}" srcOrd="0" destOrd="0" presId="urn:microsoft.com/office/officeart/2005/8/layout/vList3"/>
    <dgm:cxn modelId="{58A9B4A0-1C86-41CD-A34F-5E533745400C}" srcId="{BF827A54-1335-445B-9D29-B148D01A5DD8}" destId="{819814F3-0291-4AA4-BC56-2DCE47155AF3}" srcOrd="0" destOrd="0" parTransId="{8240E088-7207-41F9-9380-E1E61F4AA91E}" sibTransId="{413C6A79-F66D-4D05-A53C-D8229BD204DD}"/>
    <dgm:cxn modelId="{7CAA80FF-52F6-44F4-BFFC-A1EB254E8B04}" type="presParOf" srcId="{FD7A6582-CE8F-47C6-9CD3-7D9E5D6AD313}" destId="{02DFDF96-B815-4066-9BF1-F51419881ACB}" srcOrd="0" destOrd="0" presId="urn:microsoft.com/office/officeart/2005/8/layout/vList3"/>
    <dgm:cxn modelId="{E2B3AD2B-A35D-4051-B340-76EA5C153DFA}" type="presParOf" srcId="{02DFDF96-B815-4066-9BF1-F51419881ACB}" destId="{7300D119-1600-43AD-9D72-F9FFDFFE3AEF}" srcOrd="0" destOrd="0" presId="urn:microsoft.com/office/officeart/2005/8/layout/vList3"/>
    <dgm:cxn modelId="{19771A4E-9672-4003-BCD6-960DEB2BEB83}" type="presParOf" srcId="{02DFDF96-B815-4066-9BF1-F51419881ACB}" destId="{96EA403E-F988-4E45-867E-49A376D781BA}"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BF827A54-1335-445B-9D29-B148D01A5DD8}" type="doc">
      <dgm:prSet loTypeId="urn:microsoft.com/office/officeart/2005/8/layout/vList3" loCatId="list" qsTypeId="urn:microsoft.com/office/officeart/2005/8/quickstyle/simple1" qsCatId="simple" csTypeId="urn:microsoft.com/office/officeart/2005/8/colors/accent1_2" csCatId="accent1" phldr="1"/>
      <dgm:spPr/>
    </dgm:pt>
    <dgm:pt modelId="{819814F3-0291-4AA4-BC56-2DCE47155AF3}">
      <dgm:prSet phldrT="[Text]" custT="1"/>
      <dgm:spPr>
        <a:solidFill>
          <a:srgbClr val="1F4E79"/>
        </a:solidFill>
      </dgm:spPr>
      <dgm:t>
        <a:bodyPr/>
        <a:lstStyle/>
        <a:p>
          <a:r>
            <a:rPr lang="en-US" sz="3200"/>
            <a:t>Extra Day</a:t>
          </a:r>
        </a:p>
      </dgm:t>
    </dgm:pt>
    <dgm:pt modelId="{8240E088-7207-41F9-9380-E1E61F4AA91E}" type="parTrans" cxnId="{58A9B4A0-1C86-41CD-A34F-5E533745400C}">
      <dgm:prSet/>
      <dgm:spPr/>
      <dgm:t>
        <a:bodyPr/>
        <a:lstStyle/>
        <a:p>
          <a:endParaRPr lang="en-US"/>
        </a:p>
      </dgm:t>
    </dgm:pt>
    <dgm:pt modelId="{413C6A79-F66D-4D05-A53C-D8229BD204DD}" type="sibTrans" cxnId="{58A9B4A0-1C86-41CD-A34F-5E533745400C}">
      <dgm:prSet/>
      <dgm:spPr/>
      <dgm:t>
        <a:bodyPr/>
        <a:lstStyle/>
        <a:p>
          <a:endParaRPr lang="en-US"/>
        </a:p>
      </dgm:t>
    </dgm:pt>
    <dgm:pt modelId="{FD7A6582-CE8F-47C6-9CD3-7D9E5D6AD313}" type="pres">
      <dgm:prSet presAssocID="{BF827A54-1335-445B-9D29-B148D01A5DD8}" presName="linearFlow" presStyleCnt="0">
        <dgm:presLayoutVars>
          <dgm:dir/>
          <dgm:resizeHandles val="exact"/>
        </dgm:presLayoutVars>
      </dgm:prSet>
      <dgm:spPr/>
    </dgm:pt>
    <dgm:pt modelId="{02DFDF96-B815-4066-9BF1-F51419881ACB}" type="pres">
      <dgm:prSet presAssocID="{819814F3-0291-4AA4-BC56-2DCE47155AF3}" presName="composite" presStyleCnt="0"/>
      <dgm:spPr/>
    </dgm:pt>
    <dgm:pt modelId="{7300D119-1600-43AD-9D72-F9FFDFFE3AEF}" type="pres">
      <dgm:prSet presAssocID="{819814F3-0291-4AA4-BC56-2DCE47155AF3}" presName="imgShp" presStyleLbl="fgImgPlace1" presStyleIdx="0" presStyleCnt="1"/>
      <dgm:spPr>
        <a:solidFill>
          <a:schemeClr val="accent1">
            <a:lumMod val="20000"/>
            <a:lumOff val="80000"/>
          </a:schemeClr>
        </a:solidFill>
      </dgm:spPr>
    </dgm:pt>
    <dgm:pt modelId="{96EA403E-F988-4E45-867E-49A376D781BA}" type="pres">
      <dgm:prSet presAssocID="{819814F3-0291-4AA4-BC56-2DCE47155AF3}" presName="txShp" presStyleLbl="node1" presStyleIdx="0" presStyleCnt="1">
        <dgm:presLayoutVars>
          <dgm:bulletEnabled val="1"/>
        </dgm:presLayoutVars>
      </dgm:prSet>
      <dgm:spPr/>
    </dgm:pt>
  </dgm:ptLst>
  <dgm:cxnLst>
    <dgm:cxn modelId="{2CEB6700-5B94-4735-9D55-F784D288F8B3}" type="presOf" srcId="{BF827A54-1335-445B-9D29-B148D01A5DD8}" destId="{FD7A6582-CE8F-47C6-9CD3-7D9E5D6AD313}" srcOrd="0" destOrd="0" presId="urn:microsoft.com/office/officeart/2005/8/layout/vList3"/>
    <dgm:cxn modelId="{001B7B7C-0E7A-4324-A47D-CBD25650A490}" type="presOf" srcId="{819814F3-0291-4AA4-BC56-2DCE47155AF3}" destId="{96EA403E-F988-4E45-867E-49A376D781BA}" srcOrd="0" destOrd="0" presId="urn:microsoft.com/office/officeart/2005/8/layout/vList3"/>
    <dgm:cxn modelId="{58A9B4A0-1C86-41CD-A34F-5E533745400C}" srcId="{BF827A54-1335-445B-9D29-B148D01A5DD8}" destId="{819814F3-0291-4AA4-BC56-2DCE47155AF3}" srcOrd="0" destOrd="0" parTransId="{8240E088-7207-41F9-9380-E1E61F4AA91E}" sibTransId="{413C6A79-F66D-4D05-A53C-D8229BD204DD}"/>
    <dgm:cxn modelId="{7CAA80FF-52F6-44F4-BFFC-A1EB254E8B04}" type="presParOf" srcId="{FD7A6582-CE8F-47C6-9CD3-7D9E5D6AD313}" destId="{02DFDF96-B815-4066-9BF1-F51419881ACB}" srcOrd="0" destOrd="0" presId="urn:microsoft.com/office/officeart/2005/8/layout/vList3"/>
    <dgm:cxn modelId="{E2B3AD2B-A35D-4051-B340-76EA5C153DFA}" type="presParOf" srcId="{02DFDF96-B815-4066-9BF1-F51419881ACB}" destId="{7300D119-1600-43AD-9D72-F9FFDFFE3AEF}" srcOrd="0" destOrd="0" presId="urn:microsoft.com/office/officeart/2005/8/layout/vList3"/>
    <dgm:cxn modelId="{19771A4E-9672-4003-BCD6-960DEB2BEB83}" type="presParOf" srcId="{02DFDF96-B815-4066-9BF1-F51419881ACB}" destId="{96EA403E-F988-4E45-867E-49A376D781BA}"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BF827A54-1335-445B-9D29-B148D01A5DD8}" type="doc">
      <dgm:prSet loTypeId="urn:microsoft.com/office/officeart/2005/8/layout/vList3" loCatId="list" qsTypeId="urn:microsoft.com/office/officeart/2005/8/quickstyle/simple1" qsCatId="simple" csTypeId="urn:microsoft.com/office/officeart/2005/8/colors/accent1_2" csCatId="accent1" phldr="1"/>
      <dgm:spPr/>
    </dgm:pt>
    <dgm:pt modelId="{819814F3-0291-4AA4-BC56-2DCE47155AF3}">
      <dgm:prSet phldrT="[Text]" custT="1"/>
      <dgm:spPr>
        <a:solidFill>
          <a:srgbClr val="1F4E79"/>
        </a:solidFill>
      </dgm:spPr>
      <dgm:t>
        <a:bodyPr/>
        <a:lstStyle/>
        <a:p>
          <a:r>
            <a:rPr lang="en-US" sz="3200"/>
            <a:t>Other</a:t>
          </a:r>
        </a:p>
      </dgm:t>
    </dgm:pt>
    <dgm:pt modelId="{8240E088-7207-41F9-9380-E1E61F4AA91E}" type="parTrans" cxnId="{58A9B4A0-1C86-41CD-A34F-5E533745400C}">
      <dgm:prSet/>
      <dgm:spPr/>
      <dgm:t>
        <a:bodyPr/>
        <a:lstStyle/>
        <a:p>
          <a:endParaRPr lang="en-US"/>
        </a:p>
      </dgm:t>
    </dgm:pt>
    <dgm:pt modelId="{413C6A79-F66D-4D05-A53C-D8229BD204DD}" type="sibTrans" cxnId="{58A9B4A0-1C86-41CD-A34F-5E533745400C}">
      <dgm:prSet/>
      <dgm:spPr/>
      <dgm:t>
        <a:bodyPr/>
        <a:lstStyle/>
        <a:p>
          <a:endParaRPr lang="en-US"/>
        </a:p>
      </dgm:t>
    </dgm:pt>
    <dgm:pt modelId="{FD7A6582-CE8F-47C6-9CD3-7D9E5D6AD313}" type="pres">
      <dgm:prSet presAssocID="{BF827A54-1335-445B-9D29-B148D01A5DD8}" presName="linearFlow" presStyleCnt="0">
        <dgm:presLayoutVars>
          <dgm:dir/>
          <dgm:resizeHandles val="exact"/>
        </dgm:presLayoutVars>
      </dgm:prSet>
      <dgm:spPr/>
    </dgm:pt>
    <dgm:pt modelId="{02DFDF96-B815-4066-9BF1-F51419881ACB}" type="pres">
      <dgm:prSet presAssocID="{819814F3-0291-4AA4-BC56-2DCE47155AF3}" presName="composite" presStyleCnt="0"/>
      <dgm:spPr/>
    </dgm:pt>
    <dgm:pt modelId="{7300D119-1600-43AD-9D72-F9FFDFFE3AEF}" type="pres">
      <dgm:prSet presAssocID="{819814F3-0291-4AA4-BC56-2DCE47155AF3}" presName="imgShp" presStyleLbl="fgImgPlace1" presStyleIdx="0" presStyleCnt="1"/>
      <dgm:spPr>
        <a:solidFill>
          <a:schemeClr val="accent1">
            <a:lumMod val="20000"/>
            <a:lumOff val="80000"/>
          </a:schemeClr>
        </a:solidFill>
      </dgm:spPr>
    </dgm:pt>
    <dgm:pt modelId="{96EA403E-F988-4E45-867E-49A376D781BA}" type="pres">
      <dgm:prSet presAssocID="{819814F3-0291-4AA4-BC56-2DCE47155AF3}" presName="txShp" presStyleLbl="node1" presStyleIdx="0" presStyleCnt="1">
        <dgm:presLayoutVars>
          <dgm:bulletEnabled val="1"/>
        </dgm:presLayoutVars>
      </dgm:prSet>
      <dgm:spPr/>
    </dgm:pt>
  </dgm:ptLst>
  <dgm:cxnLst>
    <dgm:cxn modelId="{2CEB6700-5B94-4735-9D55-F784D288F8B3}" type="presOf" srcId="{BF827A54-1335-445B-9D29-B148D01A5DD8}" destId="{FD7A6582-CE8F-47C6-9CD3-7D9E5D6AD313}" srcOrd="0" destOrd="0" presId="urn:microsoft.com/office/officeart/2005/8/layout/vList3"/>
    <dgm:cxn modelId="{001B7B7C-0E7A-4324-A47D-CBD25650A490}" type="presOf" srcId="{819814F3-0291-4AA4-BC56-2DCE47155AF3}" destId="{96EA403E-F988-4E45-867E-49A376D781BA}" srcOrd="0" destOrd="0" presId="urn:microsoft.com/office/officeart/2005/8/layout/vList3"/>
    <dgm:cxn modelId="{58A9B4A0-1C86-41CD-A34F-5E533745400C}" srcId="{BF827A54-1335-445B-9D29-B148D01A5DD8}" destId="{819814F3-0291-4AA4-BC56-2DCE47155AF3}" srcOrd="0" destOrd="0" parTransId="{8240E088-7207-41F9-9380-E1E61F4AA91E}" sibTransId="{413C6A79-F66D-4D05-A53C-D8229BD204DD}"/>
    <dgm:cxn modelId="{7CAA80FF-52F6-44F4-BFFC-A1EB254E8B04}" type="presParOf" srcId="{FD7A6582-CE8F-47C6-9CD3-7D9E5D6AD313}" destId="{02DFDF96-B815-4066-9BF1-F51419881ACB}" srcOrd="0" destOrd="0" presId="urn:microsoft.com/office/officeart/2005/8/layout/vList3"/>
    <dgm:cxn modelId="{E2B3AD2B-A35D-4051-B340-76EA5C153DFA}" type="presParOf" srcId="{02DFDF96-B815-4066-9BF1-F51419881ACB}" destId="{7300D119-1600-43AD-9D72-F9FFDFFE3AEF}" srcOrd="0" destOrd="0" presId="urn:microsoft.com/office/officeart/2005/8/layout/vList3"/>
    <dgm:cxn modelId="{19771A4E-9672-4003-BCD6-960DEB2BEB83}" type="presParOf" srcId="{02DFDF96-B815-4066-9BF1-F51419881ACB}" destId="{96EA403E-F988-4E45-867E-49A376D781BA}"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8F13446-D75C-4FF2-848B-C458CA0D7A86}"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F8DEC42F-289C-483B-9D7E-C7921116A3F9}">
      <dgm:prSet phldrT="[Text]"/>
      <dgm:spPr>
        <a:solidFill>
          <a:schemeClr val="accent1">
            <a:lumMod val="20000"/>
            <a:lumOff val="80000"/>
            <a:alpha val="40000"/>
          </a:schemeClr>
        </a:solidFill>
        <a:ln w="31750">
          <a:solidFill>
            <a:schemeClr val="accent1"/>
          </a:solidFill>
        </a:ln>
      </dgm:spPr>
      <dgm:t>
        <a:bodyPr/>
        <a:lstStyle/>
        <a:p>
          <a:r>
            <a:rPr lang="en-US">
              <a:solidFill>
                <a:srgbClr val="0D6CB9"/>
              </a:solidFill>
            </a:rPr>
            <a:t>Accessibility Features</a:t>
          </a:r>
        </a:p>
      </dgm:t>
    </dgm:pt>
    <dgm:pt modelId="{1C98BD87-7294-4D8B-BBB1-EDE44CBAAEED}" type="parTrans" cxnId="{EF7DF568-1393-43E4-8779-6974D6A2BC3E}">
      <dgm:prSet/>
      <dgm:spPr/>
      <dgm:t>
        <a:bodyPr/>
        <a:lstStyle/>
        <a:p>
          <a:endParaRPr lang="en-US"/>
        </a:p>
      </dgm:t>
    </dgm:pt>
    <dgm:pt modelId="{0CBC2D3A-49B3-420A-BA39-9FA759DBBEA8}" type="sibTrans" cxnId="{EF7DF568-1393-43E4-8779-6974D6A2BC3E}">
      <dgm:prSet/>
      <dgm:spPr/>
      <dgm:t>
        <a:bodyPr/>
        <a:lstStyle/>
        <a:p>
          <a:endParaRPr lang="en-US"/>
        </a:p>
      </dgm:t>
    </dgm:pt>
    <dgm:pt modelId="{9BC3B93A-A258-41C3-88E9-9C3EA13C3C3E}">
      <dgm:prSet phldrT="[Text]"/>
      <dgm:spPr>
        <a:solidFill>
          <a:schemeClr val="accent2">
            <a:lumMod val="40000"/>
            <a:lumOff val="60000"/>
            <a:alpha val="75000"/>
          </a:schemeClr>
        </a:solidFill>
        <a:ln w="28575">
          <a:solidFill>
            <a:srgbClr val="F16038"/>
          </a:solidFill>
        </a:ln>
      </dgm:spPr>
      <dgm:t>
        <a:bodyPr/>
        <a:lstStyle/>
        <a:p>
          <a:r>
            <a:rPr lang="en-US">
              <a:solidFill>
                <a:srgbClr val="0D6CB9"/>
              </a:solidFill>
            </a:rPr>
            <a:t>Locally Approved Designated Supports</a:t>
          </a:r>
        </a:p>
      </dgm:t>
    </dgm:pt>
    <dgm:pt modelId="{DD17A4F3-2036-4CB1-AE01-370515ADAFA3}" type="parTrans" cxnId="{613375BF-F6A7-49FD-ADB2-D6EA601C0AA9}">
      <dgm:prSet/>
      <dgm:spPr/>
      <dgm:t>
        <a:bodyPr/>
        <a:lstStyle/>
        <a:p>
          <a:endParaRPr lang="en-US"/>
        </a:p>
      </dgm:t>
    </dgm:pt>
    <dgm:pt modelId="{E758C9E9-A643-40EA-A8E6-F155B6A334C1}" type="sibTrans" cxnId="{613375BF-F6A7-49FD-ADB2-D6EA601C0AA9}">
      <dgm:prSet/>
      <dgm:spPr/>
      <dgm:t>
        <a:bodyPr/>
        <a:lstStyle/>
        <a:p>
          <a:endParaRPr lang="en-US"/>
        </a:p>
      </dgm:t>
    </dgm:pt>
    <dgm:pt modelId="{A6E258B5-2EE0-446D-9D5F-7EDC0303213E}">
      <dgm:prSet/>
      <dgm:spPr>
        <a:solidFill>
          <a:schemeClr val="bg1">
            <a:lumMod val="75000"/>
            <a:alpha val="40000"/>
          </a:schemeClr>
        </a:solidFill>
        <a:ln w="31750">
          <a:solidFill>
            <a:schemeClr val="tx2"/>
          </a:solidFill>
        </a:ln>
      </dgm:spPr>
      <dgm:t>
        <a:bodyPr/>
        <a:lstStyle/>
        <a:p>
          <a:r>
            <a:rPr lang="en-US">
              <a:solidFill>
                <a:srgbClr val="0D6CB9"/>
              </a:solidFill>
            </a:rPr>
            <a:t>Designated Supports Requiring TEA Approval</a:t>
          </a:r>
        </a:p>
      </dgm:t>
    </dgm:pt>
    <dgm:pt modelId="{63209230-5B49-42E7-8B9B-2C79EAA5EACE}" type="parTrans" cxnId="{EEBA2342-1F18-4CBE-9720-1CD0CFF320E4}">
      <dgm:prSet/>
      <dgm:spPr/>
      <dgm:t>
        <a:bodyPr/>
        <a:lstStyle/>
        <a:p>
          <a:endParaRPr lang="en-US"/>
        </a:p>
      </dgm:t>
    </dgm:pt>
    <dgm:pt modelId="{6A469009-24DA-44BB-A689-1CB67790DF9C}" type="sibTrans" cxnId="{EEBA2342-1F18-4CBE-9720-1CD0CFF320E4}">
      <dgm:prSet/>
      <dgm:spPr/>
      <dgm:t>
        <a:bodyPr/>
        <a:lstStyle/>
        <a:p>
          <a:endParaRPr lang="en-US"/>
        </a:p>
      </dgm:t>
    </dgm:pt>
    <dgm:pt modelId="{6720EFCE-56C9-40FD-B091-2DC9EFB5A524}" type="pres">
      <dgm:prSet presAssocID="{78F13446-D75C-4FF2-848B-C458CA0D7A86}" presName="Name0" presStyleCnt="0">
        <dgm:presLayoutVars>
          <dgm:dir/>
          <dgm:resizeHandles val="exact"/>
        </dgm:presLayoutVars>
      </dgm:prSet>
      <dgm:spPr/>
    </dgm:pt>
    <dgm:pt modelId="{E5F0B4BE-00AA-4F6A-ABF8-C5041D3A1923}" type="pres">
      <dgm:prSet presAssocID="{F8DEC42F-289C-483B-9D7E-C7921116A3F9}" presName="composite" presStyleCnt="0"/>
      <dgm:spPr/>
    </dgm:pt>
    <dgm:pt modelId="{D5AF59D4-2CA0-47B7-97E7-B7142CD4A61C}" type="pres">
      <dgm:prSet presAssocID="{F8DEC42F-289C-483B-9D7E-C7921116A3F9}" presName="rect1" presStyleLbl="trAlignAcc1" presStyleIdx="0" presStyleCnt="3">
        <dgm:presLayoutVars>
          <dgm:bulletEnabled val="1"/>
        </dgm:presLayoutVars>
      </dgm:prSet>
      <dgm:spPr/>
    </dgm:pt>
    <dgm:pt modelId="{4E5EE2F1-47BA-448B-8FBE-B39FCD90044C}" type="pres">
      <dgm:prSet presAssocID="{F8DEC42F-289C-483B-9D7E-C7921116A3F9}" presName="rect2" presStyleLbl="fgImgPlace1" presStyleIdx="0" presStyleCnt="3"/>
      <dgm:spPr>
        <a:solidFill>
          <a:schemeClr val="accent1"/>
        </a:solidFill>
        <a:ln>
          <a:solidFill>
            <a:schemeClr val="accent1"/>
          </a:solidFill>
        </a:ln>
      </dgm:spPr>
    </dgm:pt>
    <dgm:pt modelId="{AD740B0C-D1F6-4CB0-B866-0FCCA750FDE9}" type="pres">
      <dgm:prSet presAssocID="{0CBC2D3A-49B3-420A-BA39-9FA759DBBEA8}" presName="sibTrans" presStyleCnt="0"/>
      <dgm:spPr/>
    </dgm:pt>
    <dgm:pt modelId="{B01EABC2-7914-4456-8086-F27D67A80CCC}" type="pres">
      <dgm:prSet presAssocID="{9BC3B93A-A258-41C3-88E9-9C3EA13C3C3E}" presName="composite" presStyleCnt="0"/>
      <dgm:spPr/>
    </dgm:pt>
    <dgm:pt modelId="{84FDB11A-DA73-4E26-A565-D93C833D4CB0}" type="pres">
      <dgm:prSet presAssocID="{9BC3B93A-A258-41C3-88E9-9C3EA13C3C3E}" presName="rect1" presStyleLbl="trAlignAcc1" presStyleIdx="1" presStyleCnt="3">
        <dgm:presLayoutVars>
          <dgm:bulletEnabled val="1"/>
        </dgm:presLayoutVars>
      </dgm:prSet>
      <dgm:spPr/>
    </dgm:pt>
    <dgm:pt modelId="{905B416E-FE25-4407-B729-429F2BBB20BF}" type="pres">
      <dgm:prSet presAssocID="{9BC3B93A-A258-41C3-88E9-9C3EA13C3C3E}" presName="rect2" presStyleLbl="fgImgPlace1" presStyleIdx="1" presStyleCnt="3"/>
      <dgm:spPr>
        <a:solidFill>
          <a:srgbClr val="F16038"/>
        </a:solidFill>
        <a:ln>
          <a:solidFill>
            <a:srgbClr val="F16038"/>
          </a:solidFill>
        </a:ln>
      </dgm:spPr>
    </dgm:pt>
    <dgm:pt modelId="{DC7AC054-E7B0-47E7-A94E-C9A2FCEB9261}" type="pres">
      <dgm:prSet presAssocID="{E758C9E9-A643-40EA-A8E6-F155B6A334C1}" presName="sibTrans" presStyleCnt="0"/>
      <dgm:spPr/>
    </dgm:pt>
    <dgm:pt modelId="{A21BED85-4B54-4E53-B3F9-D117BA832E1C}" type="pres">
      <dgm:prSet presAssocID="{A6E258B5-2EE0-446D-9D5F-7EDC0303213E}" presName="composite" presStyleCnt="0"/>
      <dgm:spPr/>
    </dgm:pt>
    <dgm:pt modelId="{9A2C8BB3-7A74-43CE-A856-16296EF5752A}" type="pres">
      <dgm:prSet presAssocID="{A6E258B5-2EE0-446D-9D5F-7EDC0303213E}" presName="rect1" presStyleLbl="trAlignAcc1" presStyleIdx="2" presStyleCnt="3" custLinFactNeighborX="931" custLinFactNeighborY="-5929">
        <dgm:presLayoutVars>
          <dgm:bulletEnabled val="1"/>
        </dgm:presLayoutVars>
      </dgm:prSet>
      <dgm:spPr/>
    </dgm:pt>
    <dgm:pt modelId="{851707FC-737C-49A5-96D9-4C304B42B08F}" type="pres">
      <dgm:prSet presAssocID="{A6E258B5-2EE0-446D-9D5F-7EDC0303213E}" presName="rect2" presStyleLbl="fgImgPlace1" presStyleIdx="2" presStyleCnt="3"/>
      <dgm:spPr>
        <a:solidFill>
          <a:schemeClr val="accent6"/>
        </a:solidFill>
        <a:ln>
          <a:solidFill>
            <a:srgbClr val="0A518B"/>
          </a:solidFill>
        </a:ln>
      </dgm:spPr>
    </dgm:pt>
  </dgm:ptLst>
  <dgm:cxnLst>
    <dgm:cxn modelId="{890BDF3E-4E0E-4C7D-8A5D-FAE055501EF4}" type="presOf" srcId="{F8DEC42F-289C-483B-9D7E-C7921116A3F9}" destId="{D5AF59D4-2CA0-47B7-97E7-B7142CD4A61C}" srcOrd="0" destOrd="0" presId="urn:microsoft.com/office/officeart/2008/layout/PictureStrips"/>
    <dgm:cxn modelId="{EEBA2342-1F18-4CBE-9720-1CD0CFF320E4}" srcId="{78F13446-D75C-4FF2-848B-C458CA0D7A86}" destId="{A6E258B5-2EE0-446D-9D5F-7EDC0303213E}" srcOrd="2" destOrd="0" parTransId="{63209230-5B49-42E7-8B9B-2C79EAA5EACE}" sibTransId="{6A469009-24DA-44BB-A689-1CB67790DF9C}"/>
    <dgm:cxn modelId="{054D8447-5297-4479-A8BC-7FE27DCD88EA}" type="presOf" srcId="{78F13446-D75C-4FF2-848B-C458CA0D7A86}" destId="{6720EFCE-56C9-40FD-B091-2DC9EFB5A524}" srcOrd="0" destOrd="0" presId="urn:microsoft.com/office/officeart/2008/layout/PictureStrips"/>
    <dgm:cxn modelId="{EF7DF568-1393-43E4-8779-6974D6A2BC3E}" srcId="{78F13446-D75C-4FF2-848B-C458CA0D7A86}" destId="{F8DEC42F-289C-483B-9D7E-C7921116A3F9}" srcOrd="0" destOrd="0" parTransId="{1C98BD87-7294-4D8B-BBB1-EDE44CBAAEED}" sibTransId="{0CBC2D3A-49B3-420A-BA39-9FA759DBBEA8}"/>
    <dgm:cxn modelId="{16653F7F-F2A4-4DC5-BB88-A9530B3DC8D4}" type="presOf" srcId="{A6E258B5-2EE0-446D-9D5F-7EDC0303213E}" destId="{9A2C8BB3-7A74-43CE-A856-16296EF5752A}" srcOrd="0" destOrd="0" presId="urn:microsoft.com/office/officeart/2008/layout/PictureStrips"/>
    <dgm:cxn modelId="{7F149AAF-C2A1-4E5A-A278-32CC3B1EB466}" type="presOf" srcId="{9BC3B93A-A258-41C3-88E9-9C3EA13C3C3E}" destId="{84FDB11A-DA73-4E26-A565-D93C833D4CB0}" srcOrd="0" destOrd="0" presId="urn:microsoft.com/office/officeart/2008/layout/PictureStrips"/>
    <dgm:cxn modelId="{613375BF-F6A7-49FD-ADB2-D6EA601C0AA9}" srcId="{78F13446-D75C-4FF2-848B-C458CA0D7A86}" destId="{9BC3B93A-A258-41C3-88E9-9C3EA13C3C3E}" srcOrd="1" destOrd="0" parTransId="{DD17A4F3-2036-4CB1-AE01-370515ADAFA3}" sibTransId="{E758C9E9-A643-40EA-A8E6-F155B6A334C1}"/>
    <dgm:cxn modelId="{CF0F7E7A-8FD4-4ADD-BCBE-481BADA77394}" type="presParOf" srcId="{6720EFCE-56C9-40FD-B091-2DC9EFB5A524}" destId="{E5F0B4BE-00AA-4F6A-ABF8-C5041D3A1923}" srcOrd="0" destOrd="0" presId="urn:microsoft.com/office/officeart/2008/layout/PictureStrips"/>
    <dgm:cxn modelId="{7B9AE645-89E5-4CB3-9055-3D9590D6BD02}" type="presParOf" srcId="{E5F0B4BE-00AA-4F6A-ABF8-C5041D3A1923}" destId="{D5AF59D4-2CA0-47B7-97E7-B7142CD4A61C}" srcOrd="0" destOrd="0" presId="urn:microsoft.com/office/officeart/2008/layout/PictureStrips"/>
    <dgm:cxn modelId="{466771FC-79E0-4564-A42A-B6B821E8E6CA}" type="presParOf" srcId="{E5F0B4BE-00AA-4F6A-ABF8-C5041D3A1923}" destId="{4E5EE2F1-47BA-448B-8FBE-B39FCD90044C}" srcOrd="1" destOrd="0" presId="urn:microsoft.com/office/officeart/2008/layout/PictureStrips"/>
    <dgm:cxn modelId="{DE729F50-2D0D-47CF-BC52-8FF44E9A94D8}" type="presParOf" srcId="{6720EFCE-56C9-40FD-B091-2DC9EFB5A524}" destId="{AD740B0C-D1F6-4CB0-B866-0FCCA750FDE9}" srcOrd="1" destOrd="0" presId="urn:microsoft.com/office/officeart/2008/layout/PictureStrips"/>
    <dgm:cxn modelId="{DE64FC25-2A1E-4ACC-A3C2-70CD66BFE5C2}" type="presParOf" srcId="{6720EFCE-56C9-40FD-B091-2DC9EFB5A524}" destId="{B01EABC2-7914-4456-8086-F27D67A80CCC}" srcOrd="2" destOrd="0" presId="urn:microsoft.com/office/officeart/2008/layout/PictureStrips"/>
    <dgm:cxn modelId="{F583FD45-1B05-4E8C-9798-B2D03F1A76A4}" type="presParOf" srcId="{B01EABC2-7914-4456-8086-F27D67A80CCC}" destId="{84FDB11A-DA73-4E26-A565-D93C833D4CB0}" srcOrd="0" destOrd="0" presId="urn:microsoft.com/office/officeart/2008/layout/PictureStrips"/>
    <dgm:cxn modelId="{FC18B94A-CC91-49A7-B9D6-C3440F93FA34}" type="presParOf" srcId="{B01EABC2-7914-4456-8086-F27D67A80CCC}" destId="{905B416E-FE25-4407-B729-429F2BBB20BF}" srcOrd="1" destOrd="0" presId="urn:microsoft.com/office/officeart/2008/layout/PictureStrips"/>
    <dgm:cxn modelId="{1C5ABF94-3C17-4318-A22F-48D320DE52E6}" type="presParOf" srcId="{6720EFCE-56C9-40FD-B091-2DC9EFB5A524}" destId="{DC7AC054-E7B0-47E7-A94E-C9A2FCEB9261}" srcOrd="3" destOrd="0" presId="urn:microsoft.com/office/officeart/2008/layout/PictureStrips"/>
    <dgm:cxn modelId="{D73C7601-F2E8-4A45-91DB-CA01E4B3DCE0}" type="presParOf" srcId="{6720EFCE-56C9-40FD-B091-2DC9EFB5A524}" destId="{A21BED85-4B54-4E53-B3F9-D117BA832E1C}" srcOrd="4" destOrd="0" presId="urn:microsoft.com/office/officeart/2008/layout/PictureStrips"/>
    <dgm:cxn modelId="{F2F0D46D-AECB-43EC-BFA1-E64611AC22AB}" type="presParOf" srcId="{A21BED85-4B54-4E53-B3F9-D117BA832E1C}" destId="{9A2C8BB3-7A74-43CE-A856-16296EF5752A}" srcOrd="0" destOrd="0" presId="urn:microsoft.com/office/officeart/2008/layout/PictureStrips"/>
    <dgm:cxn modelId="{56B77186-FAB3-47BE-B5DE-8D7D4FAA9163}" type="presParOf" srcId="{A21BED85-4B54-4E53-B3F9-D117BA832E1C}" destId="{851707FC-737C-49A5-96D9-4C304B42B08F}" srcOrd="1" destOrd="0" presId="urn:microsoft.com/office/officeart/2008/layout/PictureStrips"/>
  </dgm:cxnLst>
  <dgm:bg>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78F13446-D75C-4FF2-848B-C458CA0D7A86}"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F8DEC42F-289C-483B-9D7E-C7921116A3F9}">
      <dgm:prSet phldrT="[Text]" custT="1"/>
      <dgm:spPr>
        <a:solidFill>
          <a:schemeClr val="accent1">
            <a:lumMod val="20000"/>
            <a:lumOff val="80000"/>
            <a:alpha val="40000"/>
          </a:schemeClr>
        </a:solidFill>
        <a:ln w="38100">
          <a:solidFill>
            <a:schemeClr val="accent1"/>
          </a:solidFill>
        </a:ln>
      </dgm:spPr>
      <dgm:t>
        <a:bodyPr/>
        <a:lstStyle/>
        <a:p>
          <a:r>
            <a:rPr lang="en-US" sz="2800" dirty="0">
              <a:solidFill>
                <a:srgbClr val="0D6CB9"/>
              </a:solidFill>
            </a:rPr>
            <a:t>Accessibility Features Overview</a:t>
          </a:r>
        </a:p>
      </dgm:t>
    </dgm:pt>
    <dgm:pt modelId="{1C98BD87-7294-4D8B-BBB1-EDE44CBAAEED}" type="parTrans" cxnId="{EF7DF568-1393-43E4-8779-6974D6A2BC3E}">
      <dgm:prSet/>
      <dgm:spPr/>
      <dgm:t>
        <a:bodyPr/>
        <a:lstStyle/>
        <a:p>
          <a:endParaRPr lang="en-US"/>
        </a:p>
      </dgm:t>
    </dgm:pt>
    <dgm:pt modelId="{0CBC2D3A-49B3-420A-BA39-9FA759DBBEA8}" type="sibTrans" cxnId="{EF7DF568-1393-43E4-8779-6974D6A2BC3E}">
      <dgm:prSet/>
      <dgm:spPr/>
      <dgm:t>
        <a:bodyPr/>
        <a:lstStyle/>
        <a:p>
          <a:endParaRPr lang="en-US"/>
        </a:p>
      </dgm:t>
    </dgm:pt>
    <dgm:pt modelId="{6720EFCE-56C9-40FD-B091-2DC9EFB5A524}" type="pres">
      <dgm:prSet presAssocID="{78F13446-D75C-4FF2-848B-C458CA0D7A86}" presName="Name0" presStyleCnt="0">
        <dgm:presLayoutVars>
          <dgm:dir/>
          <dgm:resizeHandles val="exact"/>
        </dgm:presLayoutVars>
      </dgm:prSet>
      <dgm:spPr/>
    </dgm:pt>
    <dgm:pt modelId="{E5F0B4BE-00AA-4F6A-ABF8-C5041D3A1923}" type="pres">
      <dgm:prSet presAssocID="{F8DEC42F-289C-483B-9D7E-C7921116A3F9}" presName="composite" presStyleCnt="0"/>
      <dgm:spPr/>
    </dgm:pt>
    <dgm:pt modelId="{D5AF59D4-2CA0-47B7-97E7-B7142CD4A61C}" type="pres">
      <dgm:prSet presAssocID="{F8DEC42F-289C-483B-9D7E-C7921116A3F9}" presName="rect1" presStyleLbl="trAlignAcc1" presStyleIdx="0" presStyleCnt="1" custScaleX="118358" custLinFactNeighborX="9205" custLinFactNeighborY="-2816">
        <dgm:presLayoutVars>
          <dgm:bulletEnabled val="1"/>
        </dgm:presLayoutVars>
      </dgm:prSet>
      <dgm:spPr/>
    </dgm:pt>
    <dgm:pt modelId="{4E5EE2F1-47BA-448B-8FBE-B39FCD90044C}" type="pres">
      <dgm:prSet presAssocID="{F8DEC42F-289C-483B-9D7E-C7921116A3F9}" presName="rect2" presStyleLbl="fgImgPlace1" presStyleIdx="0" presStyleCnt="1"/>
      <dgm:spPr>
        <a:solidFill>
          <a:srgbClr val="0D6CB9"/>
        </a:solidFill>
      </dgm:spPr>
    </dgm:pt>
  </dgm:ptLst>
  <dgm:cxnLst>
    <dgm:cxn modelId="{890BDF3E-4E0E-4C7D-8A5D-FAE055501EF4}" type="presOf" srcId="{F8DEC42F-289C-483B-9D7E-C7921116A3F9}" destId="{D5AF59D4-2CA0-47B7-97E7-B7142CD4A61C}" srcOrd="0" destOrd="0" presId="urn:microsoft.com/office/officeart/2008/layout/PictureStrips"/>
    <dgm:cxn modelId="{054D8447-5297-4479-A8BC-7FE27DCD88EA}" type="presOf" srcId="{78F13446-D75C-4FF2-848B-C458CA0D7A86}" destId="{6720EFCE-56C9-40FD-B091-2DC9EFB5A524}" srcOrd="0" destOrd="0" presId="urn:microsoft.com/office/officeart/2008/layout/PictureStrips"/>
    <dgm:cxn modelId="{EF7DF568-1393-43E4-8779-6974D6A2BC3E}" srcId="{78F13446-D75C-4FF2-848B-C458CA0D7A86}" destId="{F8DEC42F-289C-483B-9D7E-C7921116A3F9}" srcOrd="0" destOrd="0" parTransId="{1C98BD87-7294-4D8B-BBB1-EDE44CBAAEED}" sibTransId="{0CBC2D3A-49B3-420A-BA39-9FA759DBBEA8}"/>
    <dgm:cxn modelId="{CF0F7E7A-8FD4-4ADD-BCBE-481BADA77394}" type="presParOf" srcId="{6720EFCE-56C9-40FD-B091-2DC9EFB5A524}" destId="{E5F0B4BE-00AA-4F6A-ABF8-C5041D3A1923}" srcOrd="0" destOrd="0" presId="urn:microsoft.com/office/officeart/2008/layout/PictureStrips"/>
    <dgm:cxn modelId="{7B9AE645-89E5-4CB3-9055-3D9590D6BD02}" type="presParOf" srcId="{E5F0B4BE-00AA-4F6A-ABF8-C5041D3A1923}" destId="{D5AF59D4-2CA0-47B7-97E7-B7142CD4A61C}" srcOrd="0" destOrd="0" presId="urn:microsoft.com/office/officeart/2008/layout/PictureStrips"/>
    <dgm:cxn modelId="{466771FC-79E0-4564-A42A-B6B821E8E6CA}" type="presParOf" srcId="{E5F0B4BE-00AA-4F6A-ABF8-C5041D3A1923}" destId="{4E5EE2F1-47BA-448B-8FBE-B39FCD90044C}" srcOrd="1" destOrd="0" presId="urn:microsoft.com/office/officeart/2008/layout/PictureStrips"/>
  </dgm:cxnLst>
  <dgm:bg>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8F13446-D75C-4FF2-848B-C458CA0D7A86}"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F8DEC42F-289C-483B-9D7E-C7921116A3F9}">
      <dgm:prSet phldrT="[Text]"/>
      <dgm:spPr>
        <a:solidFill>
          <a:schemeClr val="accent1">
            <a:lumMod val="20000"/>
            <a:lumOff val="80000"/>
            <a:alpha val="40000"/>
          </a:schemeClr>
        </a:solidFill>
        <a:ln w="38100">
          <a:solidFill>
            <a:schemeClr val="accent1"/>
          </a:solidFill>
        </a:ln>
      </dgm:spPr>
      <dgm:t>
        <a:bodyPr/>
        <a:lstStyle/>
        <a:p>
          <a:r>
            <a:rPr lang="en-US">
              <a:solidFill>
                <a:srgbClr val="0D6CB9"/>
              </a:solidFill>
            </a:rPr>
            <a:t>Accessibility Features Overview</a:t>
          </a:r>
        </a:p>
      </dgm:t>
    </dgm:pt>
    <dgm:pt modelId="{1C98BD87-7294-4D8B-BBB1-EDE44CBAAEED}" type="parTrans" cxnId="{EF7DF568-1393-43E4-8779-6974D6A2BC3E}">
      <dgm:prSet/>
      <dgm:spPr/>
      <dgm:t>
        <a:bodyPr/>
        <a:lstStyle/>
        <a:p>
          <a:endParaRPr lang="en-US"/>
        </a:p>
      </dgm:t>
    </dgm:pt>
    <dgm:pt modelId="{0CBC2D3A-49B3-420A-BA39-9FA759DBBEA8}" type="sibTrans" cxnId="{EF7DF568-1393-43E4-8779-6974D6A2BC3E}">
      <dgm:prSet/>
      <dgm:spPr/>
      <dgm:t>
        <a:bodyPr/>
        <a:lstStyle/>
        <a:p>
          <a:endParaRPr lang="en-US"/>
        </a:p>
      </dgm:t>
    </dgm:pt>
    <dgm:pt modelId="{6720EFCE-56C9-40FD-B091-2DC9EFB5A524}" type="pres">
      <dgm:prSet presAssocID="{78F13446-D75C-4FF2-848B-C458CA0D7A86}" presName="Name0" presStyleCnt="0">
        <dgm:presLayoutVars>
          <dgm:dir/>
          <dgm:resizeHandles val="exact"/>
        </dgm:presLayoutVars>
      </dgm:prSet>
      <dgm:spPr/>
    </dgm:pt>
    <dgm:pt modelId="{E5F0B4BE-00AA-4F6A-ABF8-C5041D3A1923}" type="pres">
      <dgm:prSet presAssocID="{F8DEC42F-289C-483B-9D7E-C7921116A3F9}" presName="composite" presStyleCnt="0"/>
      <dgm:spPr/>
    </dgm:pt>
    <dgm:pt modelId="{D5AF59D4-2CA0-47B7-97E7-B7142CD4A61C}" type="pres">
      <dgm:prSet presAssocID="{F8DEC42F-289C-483B-9D7E-C7921116A3F9}" presName="rect1" presStyleLbl="trAlignAcc1" presStyleIdx="0" presStyleCnt="1" custScaleX="118358" custLinFactNeighborX="9205" custLinFactNeighborY="-2816">
        <dgm:presLayoutVars>
          <dgm:bulletEnabled val="1"/>
        </dgm:presLayoutVars>
      </dgm:prSet>
      <dgm:spPr/>
    </dgm:pt>
    <dgm:pt modelId="{4E5EE2F1-47BA-448B-8FBE-B39FCD90044C}" type="pres">
      <dgm:prSet presAssocID="{F8DEC42F-289C-483B-9D7E-C7921116A3F9}" presName="rect2" presStyleLbl="fgImgPlace1" presStyleIdx="0" presStyleCnt="1"/>
      <dgm:spPr>
        <a:solidFill>
          <a:schemeClr val="accent1"/>
        </a:solidFill>
      </dgm:spPr>
    </dgm:pt>
  </dgm:ptLst>
  <dgm:cxnLst>
    <dgm:cxn modelId="{890BDF3E-4E0E-4C7D-8A5D-FAE055501EF4}" type="presOf" srcId="{F8DEC42F-289C-483B-9D7E-C7921116A3F9}" destId="{D5AF59D4-2CA0-47B7-97E7-B7142CD4A61C}" srcOrd="0" destOrd="0" presId="urn:microsoft.com/office/officeart/2008/layout/PictureStrips"/>
    <dgm:cxn modelId="{054D8447-5297-4479-A8BC-7FE27DCD88EA}" type="presOf" srcId="{78F13446-D75C-4FF2-848B-C458CA0D7A86}" destId="{6720EFCE-56C9-40FD-B091-2DC9EFB5A524}" srcOrd="0" destOrd="0" presId="urn:microsoft.com/office/officeart/2008/layout/PictureStrips"/>
    <dgm:cxn modelId="{EF7DF568-1393-43E4-8779-6974D6A2BC3E}" srcId="{78F13446-D75C-4FF2-848B-C458CA0D7A86}" destId="{F8DEC42F-289C-483B-9D7E-C7921116A3F9}" srcOrd="0" destOrd="0" parTransId="{1C98BD87-7294-4D8B-BBB1-EDE44CBAAEED}" sibTransId="{0CBC2D3A-49B3-420A-BA39-9FA759DBBEA8}"/>
    <dgm:cxn modelId="{CF0F7E7A-8FD4-4ADD-BCBE-481BADA77394}" type="presParOf" srcId="{6720EFCE-56C9-40FD-B091-2DC9EFB5A524}" destId="{E5F0B4BE-00AA-4F6A-ABF8-C5041D3A1923}" srcOrd="0" destOrd="0" presId="urn:microsoft.com/office/officeart/2008/layout/PictureStrips"/>
    <dgm:cxn modelId="{7B9AE645-89E5-4CB3-9055-3D9590D6BD02}" type="presParOf" srcId="{E5F0B4BE-00AA-4F6A-ABF8-C5041D3A1923}" destId="{D5AF59D4-2CA0-47B7-97E7-B7142CD4A61C}" srcOrd="0" destOrd="0" presId="urn:microsoft.com/office/officeart/2008/layout/PictureStrips"/>
    <dgm:cxn modelId="{466771FC-79E0-4564-A42A-B6B821E8E6CA}" type="presParOf" srcId="{E5F0B4BE-00AA-4F6A-ABF8-C5041D3A1923}" destId="{4E5EE2F1-47BA-448B-8FBE-B39FCD90044C}" srcOrd="1" destOrd="0" presId="urn:microsoft.com/office/officeart/2008/layout/PictureStrips"/>
  </dgm:cxnLst>
  <dgm:bg>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09C7624-1F69-4CDC-8AE0-2CB2EC24C53F}" type="doc">
      <dgm:prSet loTypeId="urn:microsoft.com/office/officeart/2005/8/layout/list1" loCatId="list" qsTypeId="urn:microsoft.com/office/officeart/2005/8/quickstyle/simple1" qsCatId="simple" csTypeId="urn:microsoft.com/office/officeart/2005/8/colors/accent1_4" csCatId="accent1" phldr="1"/>
      <dgm:spPr/>
      <dgm:t>
        <a:bodyPr/>
        <a:lstStyle/>
        <a:p>
          <a:endParaRPr lang="en-US"/>
        </a:p>
      </dgm:t>
    </dgm:pt>
    <dgm:pt modelId="{58E7C239-2C19-4D6C-80EA-9185C5239C4B}">
      <dgm:prSet phldrT="[Text]" custT="1"/>
      <dgm:spPr/>
      <dgm:t>
        <a:bodyPr/>
        <a:lstStyle/>
        <a:p>
          <a:r>
            <a:rPr lang="en-US" sz="2000"/>
            <a:t>Amplification Devices</a:t>
          </a:r>
        </a:p>
      </dgm:t>
    </dgm:pt>
    <dgm:pt modelId="{32DCE9FF-B81E-43A3-81FB-BB1E5EA9F2D7}" type="parTrans" cxnId="{B70D6450-7AAC-4862-A6EB-A68B801C1759}">
      <dgm:prSet/>
      <dgm:spPr/>
      <dgm:t>
        <a:bodyPr/>
        <a:lstStyle/>
        <a:p>
          <a:endParaRPr lang="en-US"/>
        </a:p>
      </dgm:t>
    </dgm:pt>
    <dgm:pt modelId="{C5E297BE-F012-4068-948F-68F572071F66}" type="sibTrans" cxnId="{B70D6450-7AAC-4862-A6EB-A68B801C1759}">
      <dgm:prSet/>
      <dgm:spPr/>
      <dgm:t>
        <a:bodyPr/>
        <a:lstStyle/>
        <a:p>
          <a:endParaRPr lang="en-US"/>
        </a:p>
      </dgm:t>
    </dgm:pt>
    <dgm:pt modelId="{618CBCC4-963B-487F-95A8-FE098F80C77C}">
      <dgm:prSet phldrT="[Text]" custT="1"/>
      <dgm:spPr/>
      <dgm:t>
        <a:bodyPr/>
        <a:lstStyle/>
        <a:p>
          <a:r>
            <a:rPr lang="en-US" sz="2000"/>
            <a:t>Bilingual Dictionary</a:t>
          </a:r>
        </a:p>
      </dgm:t>
    </dgm:pt>
    <dgm:pt modelId="{65DBCC41-15BE-4FD3-8557-0E805CC2B93C}" type="parTrans" cxnId="{4FCE0035-CCE4-4BB4-9B30-F6C6B14E5A0D}">
      <dgm:prSet/>
      <dgm:spPr/>
      <dgm:t>
        <a:bodyPr/>
        <a:lstStyle/>
        <a:p>
          <a:endParaRPr lang="en-US"/>
        </a:p>
      </dgm:t>
    </dgm:pt>
    <dgm:pt modelId="{416A1475-0FCB-49FB-9832-CD47C1AB0B59}" type="sibTrans" cxnId="{4FCE0035-CCE4-4BB4-9B30-F6C6B14E5A0D}">
      <dgm:prSet/>
      <dgm:spPr/>
      <dgm:t>
        <a:bodyPr/>
        <a:lstStyle/>
        <a:p>
          <a:endParaRPr lang="en-US"/>
        </a:p>
      </dgm:t>
    </dgm:pt>
    <dgm:pt modelId="{A6529A95-2637-467D-A015-3EA0E034070A}">
      <dgm:prSet custT="1"/>
      <dgm:spPr>
        <a:solidFill>
          <a:schemeClr val="accent1"/>
        </a:solidFill>
      </dgm:spPr>
      <dgm:t>
        <a:bodyPr/>
        <a:lstStyle/>
        <a:p>
          <a:pPr rtl="0"/>
          <a:r>
            <a:rPr lang="en-US" sz="2000"/>
            <a:t>Color Overlay or Color Setting for Online Test</a:t>
          </a:r>
          <a:r>
            <a:rPr lang="en-US" sz="2000">
              <a:latin typeface="Calibri Light" panose="020F0302020204030204"/>
            </a:rPr>
            <a:t> </a:t>
          </a:r>
        </a:p>
      </dgm:t>
    </dgm:pt>
    <dgm:pt modelId="{4E151738-5B7E-46ED-B8F7-FC7CBCD86B52}" type="parTrans" cxnId="{975010E3-6618-4DD0-8282-426E95C0CB86}">
      <dgm:prSet/>
      <dgm:spPr/>
      <dgm:t>
        <a:bodyPr/>
        <a:lstStyle/>
        <a:p>
          <a:endParaRPr lang="en-US"/>
        </a:p>
      </dgm:t>
    </dgm:pt>
    <dgm:pt modelId="{C7E098A5-8120-4651-9A69-FAA68D14FF23}" type="sibTrans" cxnId="{975010E3-6618-4DD0-8282-426E95C0CB86}">
      <dgm:prSet/>
      <dgm:spPr/>
      <dgm:t>
        <a:bodyPr/>
        <a:lstStyle/>
        <a:p>
          <a:endParaRPr lang="en-US"/>
        </a:p>
      </dgm:t>
    </dgm:pt>
    <dgm:pt modelId="{3E33569F-423F-4D90-BADD-97F2290EFBF6}">
      <dgm:prSet phldrT="[Text]" custT="1"/>
      <dgm:spPr/>
      <dgm:t>
        <a:bodyPr/>
        <a:lstStyle/>
        <a:p>
          <a:pPr>
            <a:buClr>
              <a:srgbClr val="F16038"/>
            </a:buClr>
            <a:buFont typeface="Wingdings" panose="05000000000000000000" pitchFamily="2" charset="2"/>
            <a:buChar char="§"/>
          </a:pPr>
          <a:r>
            <a:rPr lang="en-US" sz="2000" b="0" i="0">
              <a:solidFill>
                <a:srgbClr val="0D6CB9"/>
              </a:solidFill>
            </a:rPr>
            <a:t>on STAAR mathematics, science, and social studies assessments (word-to-word translations; no definitions or examples; no applications on tablets or other devices)</a:t>
          </a:r>
          <a:endParaRPr lang="en-US" sz="1600">
            <a:solidFill>
              <a:srgbClr val="0D6CB9"/>
            </a:solidFill>
          </a:endParaRPr>
        </a:p>
      </dgm:t>
    </dgm:pt>
    <dgm:pt modelId="{A5B85342-AB3F-4EC9-86ED-369C6741145F}" type="parTrans" cxnId="{D854A036-4797-46B4-8E58-B843EC9106AC}">
      <dgm:prSet/>
      <dgm:spPr/>
      <dgm:t>
        <a:bodyPr/>
        <a:lstStyle/>
        <a:p>
          <a:endParaRPr lang="en-US"/>
        </a:p>
      </dgm:t>
    </dgm:pt>
    <dgm:pt modelId="{14DB30FC-C121-45B5-9AF2-2B78F6DC2651}" type="sibTrans" cxnId="{D854A036-4797-46B4-8E58-B843EC9106AC}">
      <dgm:prSet/>
      <dgm:spPr/>
      <dgm:t>
        <a:bodyPr/>
        <a:lstStyle/>
        <a:p>
          <a:endParaRPr lang="en-US"/>
        </a:p>
      </dgm:t>
    </dgm:pt>
    <dgm:pt modelId="{CAE862FF-CA5B-4747-ADFF-CF58ACAFAFC6}">
      <dgm:prSet phldrT="[Text]" custT="1"/>
      <dgm:spPr/>
      <dgm:t>
        <a:bodyPr/>
        <a:lstStyle/>
        <a:p>
          <a:pPr>
            <a:buClr>
              <a:srgbClr val="F16038"/>
            </a:buClr>
            <a:buFont typeface="Wingdings" panose="05000000000000000000" pitchFamily="2" charset="2"/>
            <a:buChar char="§"/>
          </a:pPr>
          <a:r>
            <a:rPr lang="en-US" sz="2000">
              <a:solidFill>
                <a:srgbClr val="0D6CB9"/>
              </a:solidFill>
            </a:rPr>
            <a:t>e.g., speakers, frequency-modulated [FM] systems</a:t>
          </a:r>
        </a:p>
      </dgm:t>
    </dgm:pt>
    <dgm:pt modelId="{24484A2B-15D0-4C14-80B8-CD0BC0939D3C}" type="parTrans" cxnId="{7D6817B6-1179-4BC1-8D2A-7630AA2AFA7E}">
      <dgm:prSet/>
      <dgm:spPr/>
      <dgm:t>
        <a:bodyPr/>
        <a:lstStyle/>
        <a:p>
          <a:endParaRPr lang="en-US"/>
        </a:p>
      </dgm:t>
    </dgm:pt>
    <dgm:pt modelId="{DDFCBA3F-1926-41C6-9FC2-76389A182886}" type="sibTrans" cxnId="{7D6817B6-1179-4BC1-8D2A-7630AA2AFA7E}">
      <dgm:prSet/>
      <dgm:spPr/>
      <dgm:t>
        <a:bodyPr/>
        <a:lstStyle/>
        <a:p>
          <a:endParaRPr lang="en-US"/>
        </a:p>
      </dgm:t>
    </dgm:pt>
    <dgm:pt modelId="{7F9C1407-D15B-4878-AF7E-C8C0BFD5398F}">
      <dgm:prSet custT="1"/>
      <dgm:spPr>
        <a:solidFill>
          <a:schemeClr val="tx2"/>
        </a:solidFill>
      </dgm:spPr>
      <dgm:t>
        <a:bodyPr/>
        <a:lstStyle/>
        <a:p>
          <a:pPr rtl="0"/>
          <a:r>
            <a:rPr lang="en-US" sz="2000"/>
            <a:t>General Reminders to Stay on Task</a:t>
          </a:r>
          <a:r>
            <a:rPr lang="en-US" sz="2000">
              <a:latin typeface="Calibri Light" panose="020F0302020204030204"/>
            </a:rPr>
            <a:t> </a:t>
          </a:r>
          <a:endParaRPr lang="en-US" sz="2000"/>
        </a:p>
      </dgm:t>
    </dgm:pt>
    <dgm:pt modelId="{1D0874D0-26AE-42A4-AC6C-F65D5811FD8F}" type="parTrans" cxnId="{C2D69A90-F8CB-4C0E-938F-4A7F3B5E140F}">
      <dgm:prSet/>
      <dgm:spPr/>
      <dgm:t>
        <a:bodyPr/>
        <a:lstStyle/>
        <a:p>
          <a:endParaRPr lang="en-US"/>
        </a:p>
      </dgm:t>
    </dgm:pt>
    <dgm:pt modelId="{04502FDD-8903-44DB-BD74-2AD55DA6B71A}" type="sibTrans" cxnId="{C2D69A90-F8CB-4C0E-938F-4A7F3B5E140F}">
      <dgm:prSet/>
      <dgm:spPr/>
      <dgm:t>
        <a:bodyPr/>
        <a:lstStyle/>
        <a:p>
          <a:endParaRPr lang="en-US"/>
        </a:p>
      </dgm:t>
    </dgm:pt>
    <dgm:pt modelId="{C7B815B8-E06E-46E9-89F1-17BEEEEDDEC6}" type="pres">
      <dgm:prSet presAssocID="{909C7624-1F69-4CDC-8AE0-2CB2EC24C53F}" presName="linear" presStyleCnt="0">
        <dgm:presLayoutVars>
          <dgm:dir/>
          <dgm:animLvl val="lvl"/>
          <dgm:resizeHandles val="exact"/>
        </dgm:presLayoutVars>
      </dgm:prSet>
      <dgm:spPr/>
    </dgm:pt>
    <dgm:pt modelId="{9947403F-57D4-4DB6-9308-BE2EC6D14C2A}" type="pres">
      <dgm:prSet presAssocID="{58E7C239-2C19-4D6C-80EA-9185C5239C4B}" presName="parentLin" presStyleCnt="0"/>
      <dgm:spPr/>
    </dgm:pt>
    <dgm:pt modelId="{FB397A9B-3538-4D17-85F2-D651EA4880F6}" type="pres">
      <dgm:prSet presAssocID="{58E7C239-2C19-4D6C-80EA-9185C5239C4B}" presName="parentLeftMargin" presStyleLbl="node1" presStyleIdx="0" presStyleCnt="4"/>
      <dgm:spPr/>
    </dgm:pt>
    <dgm:pt modelId="{A5D32434-C32E-4028-8295-DCF5FB37BE53}" type="pres">
      <dgm:prSet presAssocID="{58E7C239-2C19-4D6C-80EA-9185C5239C4B}" presName="parentText" presStyleLbl="node1" presStyleIdx="0" presStyleCnt="4" custScaleX="100153">
        <dgm:presLayoutVars>
          <dgm:chMax val="0"/>
          <dgm:bulletEnabled val="1"/>
        </dgm:presLayoutVars>
      </dgm:prSet>
      <dgm:spPr/>
    </dgm:pt>
    <dgm:pt modelId="{6429F53A-88A3-40F8-9F15-B130F4C766A9}" type="pres">
      <dgm:prSet presAssocID="{58E7C239-2C19-4D6C-80EA-9185C5239C4B}" presName="negativeSpace" presStyleCnt="0"/>
      <dgm:spPr/>
    </dgm:pt>
    <dgm:pt modelId="{7070BC85-1860-4E2A-8A09-B273F5B15BB7}" type="pres">
      <dgm:prSet presAssocID="{58E7C239-2C19-4D6C-80EA-9185C5239C4B}" presName="childText" presStyleLbl="conFgAcc1" presStyleIdx="0" presStyleCnt="4">
        <dgm:presLayoutVars>
          <dgm:bulletEnabled val="1"/>
        </dgm:presLayoutVars>
      </dgm:prSet>
      <dgm:spPr/>
    </dgm:pt>
    <dgm:pt modelId="{B9CD85D7-B9EA-44F7-83D0-6B29E0317A71}" type="pres">
      <dgm:prSet presAssocID="{C5E297BE-F012-4068-948F-68F572071F66}" presName="spaceBetweenRectangles" presStyleCnt="0"/>
      <dgm:spPr/>
    </dgm:pt>
    <dgm:pt modelId="{ABFCA1E3-F467-4EE1-B638-E4C557E0C575}" type="pres">
      <dgm:prSet presAssocID="{618CBCC4-963B-487F-95A8-FE098F80C77C}" presName="parentLin" presStyleCnt="0"/>
      <dgm:spPr/>
    </dgm:pt>
    <dgm:pt modelId="{C350284D-3B7D-4E17-989E-4834787605C4}" type="pres">
      <dgm:prSet presAssocID="{618CBCC4-963B-487F-95A8-FE098F80C77C}" presName="parentLeftMargin" presStyleLbl="node1" presStyleIdx="0" presStyleCnt="4"/>
      <dgm:spPr/>
    </dgm:pt>
    <dgm:pt modelId="{2C52ED92-EE03-4A82-ADBD-1803867D9FFD}" type="pres">
      <dgm:prSet presAssocID="{618CBCC4-963B-487F-95A8-FE098F80C77C}" presName="parentText" presStyleLbl="node1" presStyleIdx="1" presStyleCnt="4">
        <dgm:presLayoutVars>
          <dgm:chMax val="0"/>
          <dgm:bulletEnabled val="1"/>
        </dgm:presLayoutVars>
      </dgm:prSet>
      <dgm:spPr/>
    </dgm:pt>
    <dgm:pt modelId="{9EA415AA-6EF1-498E-8C19-E9A09A94B012}" type="pres">
      <dgm:prSet presAssocID="{618CBCC4-963B-487F-95A8-FE098F80C77C}" presName="negativeSpace" presStyleCnt="0"/>
      <dgm:spPr/>
    </dgm:pt>
    <dgm:pt modelId="{E9078F77-9050-400F-AAC9-B9946A189D97}" type="pres">
      <dgm:prSet presAssocID="{618CBCC4-963B-487F-95A8-FE098F80C77C}" presName="childText" presStyleLbl="conFgAcc1" presStyleIdx="1" presStyleCnt="4">
        <dgm:presLayoutVars>
          <dgm:bulletEnabled val="1"/>
        </dgm:presLayoutVars>
      </dgm:prSet>
      <dgm:spPr/>
    </dgm:pt>
    <dgm:pt modelId="{8BB3BF96-B483-4A41-94C5-7B558AECBD23}" type="pres">
      <dgm:prSet presAssocID="{416A1475-0FCB-49FB-9832-CD47C1AB0B59}" presName="spaceBetweenRectangles" presStyleCnt="0"/>
      <dgm:spPr/>
    </dgm:pt>
    <dgm:pt modelId="{8A7C3840-5EA9-454A-B2C8-46FEB202CC06}" type="pres">
      <dgm:prSet presAssocID="{A6529A95-2637-467D-A015-3EA0E034070A}" presName="parentLin" presStyleCnt="0"/>
      <dgm:spPr/>
    </dgm:pt>
    <dgm:pt modelId="{F41D14A3-9E5E-4701-8C13-607CA14DBE6F}" type="pres">
      <dgm:prSet presAssocID="{A6529A95-2637-467D-A015-3EA0E034070A}" presName="parentLeftMargin" presStyleLbl="node1" presStyleIdx="1" presStyleCnt="4"/>
      <dgm:spPr/>
    </dgm:pt>
    <dgm:pt modelId="{027A7B86-E5C2-4A75-99CA-8747D3A07731}" type="pres">
      <dgm:prSet presAssocID="{A6529A95-2637-467D-A015-3EA0E034070A}" presName="parentText" presStyleLbl="node1" presStyleIdx="2" presStyleCnt="4">
        <dgm:presLayoutVars>
          <dgm:chMax val="0"/>
          <dgm:bulletEnabled val="1"/>
        </dgm:presLayoutVars>
      </dgm:prSet>
      <dgm:spPr/>
    </dgm:pt>
    <dgm:pt modelId="{6A398C0C-B846-4615-8192-DBBC25930B18}" type="pres">
      <dgm:prSet presAssocID="{A6529A95-2637-467D-A015-3EA0E034070A}" presName="negativeSpace" presStyleCnt="0"/>
      <dgm:spPr/>
    </dgm:pt>
    <dgm:pt modelId="{08793761-CA96-4351-96EC-BF52FBFA0F03}" type="pres">
      <dgm:prSet presAssocID="{A6529A95-2637-467D-A015-3EA0E034070A}" presName="childText" presStyleLbl="conFgAcc1" presStyleIdx="2" presStyleCnt="4">
        <dgm:presLayoutVars>
          <dgm:bulletEnabled val="1"/>
        </dgm:presLayoutVars>
      </dgm:prSet>
      <dgm:spPr/>
    </dgm:pt>
    <dgm:pt modelId="{CA2DC097-D0F6-4EFA-BCE6-7CAF6E37C633}" type="pres">
      <dgm:prSet presAssocID="{C7E098A5-8120-4651-9A69-FAA68D14FF23}" presName="spaceBetweenRectangles" presStyleCnt="0"/>
      <dgm:spPr/>
    </dgm:pt>
    <dgm:pt modelId="{8E3AB280-4F67-4DEF-AC26-B03CAB91D027}" type="pres">
      <dgm:prSet presAssocID="{7F9C1407-D15B-4878-AF7E-C8C0BFD5398F}" presName="parentLin" presStyleCnt="0"/>
      <dgm:spPr/>
    </dgm:pt>
    <dgm:pt modelId="{B3549765-2855-48E8-BF12-C54D7640558D}" type="pres">
      <dgm:prSet presAssocID="{7F9C1407-D15B-4878-AF7E-C8C0BFD5398F}" presName="parentLeftMargin" presStyleLbl="node1" presStyleIdx="2" presStyleCnt="4"/>
      <dgm:spPr/>
    </dgm:pt>
    <dgm:pt modelId="{E4AF9104-79FB-4ADD-A13A-3A5D6A4CCF2E}" type="pres">
      <dgm:prSet presAssocID="{7F9C1407-D15B-4878-AF7E-C8C0BFD5398F}" presName="parentText" presStyleLbl="node1" presStyleIdx="3" presStyleCnt="4">
        <dgm:presLayoutVars>
          <dgm:chMax val="0"/>
          <dgm:bulletEnabled val="1"/>
        </dgm:presLayoutVars>
      </dgm:prSet>
      <dgm:spPr/>
    </dgm:pt>
    <dgm:pt modelId="{067C58A5-63A0-49E6-9471-D6DBFDDD2E58}" type="pres">
      <dgm:prSet presAssocID="{7F9C1407-D15B-4878-AF7E-C8C0BFD5398F}" presName="negativeSpace" presStyleCnt="0"/>
      <dgm:spPr/>
    </dgm:pt>
    <dgm:pt modelId="{6E4B855F-16AD-4CBB-98F3-6E330AF0D194}" type="pres">
      <dgm:prSet presAssocID="{7F9C1407-D15B-4878-AF7E-C8C0BFD5398F}" presName="childText" presStyleLbl="conFgAcc1" presStyleIdx="3" presStyleCnt="4">
        <dgm:presLayoutVars>
          <dgm:bulletEnabled val="1"/>
        </dgm:presLayoutVars>
      </dgm:prSet>
      <dgm:spPr/>
    </dgm:pt>
  </dgm:ptLst>
  <dgm:cxnLst>
    <dgm:cxn modelId="{93C66D19-C851-4FD3-ACD4-C172C7313C6B}" type="presOf" srcId="{58E7C239-2C19-4D6C-80EA-9185C5239C4B}" destId="{A5D32434-C32E-4028-8295-DCF5FB37BE53}" srcOrd="1" destOrd="0" presId="urn:microsoft.com/office/officeart/2005/8/layout/list1"/>
    <dgm:cxn modelId="{0E72FF2C-7E5A-4F68-AF70-B20157E61B2A}" type="presOf" srcId="{CAE862FF-CA5B-4747-ADFF-CF58ACAFAFC6}" destId="{7070BC85-1860-4E2A-8A09-B273F5B15BB7}" srcOrd="0" destOrd="0" presId="urn:microsoft.com/office/officeart/2005/8/layout/list1"/>
    <dgm:cxn modelId="{4FCE0035-CCE4-4BB4-9B30-F6C6B14E5A0D}" srcId="{909C7624-1F69-4CDC-8AE0-2CB2EC24C53F}" destId="{618CBCC4-963B-487F-95A8-FE098F80C77C}" srcOrd="1" destOrd="0" parTransId="{65DBCC41-15BE-4FD3-8557-0E805CC2B93C}" sibTransId="{416A1475-0FCB-49FB-9832-CD47C1AB0B59}"/>
    <dgm:cxn modelId="{D854A036-4797-46B4-8E58-B843EC9106AC}" srcId="{618CBCC4-963B-487F-95A8-FE098F80C77C}" destId="{3E33569F-423F-4D90-BADD-97F2290EFBF6}" srcOrd="0" destOrd="0" parTransId="{A5B85342-AB3F-4EC9-86ED-369C6741145F}" sibTransId="{14DB30FC-C121-45B5-9AF2-2B78F6DC2651}"/>
    <dgm:cxn modelId="{46B0B95C-DED7-419E-8898-729E810B4F2A}" type="presOf" srcId="{A6529A95-2637-467D-A015-3EA0E034070A}" destId="{027A7B86-E5C2-4A75-99CA-8747D3A07731}" srcOrd="1" destOrd="0" presId="urn:microsoft.com/office/officeart/2005/8/layout/list1"/>
    <dgm:cxn modelId="{BBA18843-6356-49F4-9A69-B8C9C6E1B78E}" type="presOf" srcId="{3E33569F-423F-4D90-BADD-97F2290EFBF6}" destId="{E9078F77-9050-400F-AAC9-B9946A189D97}" srcOrd="0" destOrd="0" presId="urn:microsoft.com/office/officeart/2005/8/layout/list1"/>
    <dgm:cxn modelId="{B70D6450-7AAC-4862-A6EB-A68B801C1759}" srcId="{909C7624-1F69-4CDC-8AE0-2CB2EC24C53F}" destId="{58E7C239-2C19-4D6C-80EA-9185C5239C4B}" srcOrd="0" destOrd="0" parTransId="{32DCE9FF-B81E-43A3-81FB-BB1E5EA9F2D7}" sibTransId="{C5E297BE-F012-4068-948F-68F572071F66}"/>
    <dgm:cxn modelId="{6CA1CF51-635A-4579-A3BF-06D489F34300}" type="presOf" srcId="{7F9C1407-D15B-4878-AF7E-C8C0BFD5398F}" destId="{B3549765-2855-48E8-BF12-C54D7640558D}" srcOrd="0" destOrd="0" presId="urn:microsoft.com/office/officeart/2005/8/layout/list1"/>
    <dgm:cxn modelId="{713FBF84-6BA1-474B-B7BE-4F12BEEC8C11}" type="presOf" srcId="{A6529A95-2637-467D-A015-3EA0E034070A}" destId="{F41D14A3-9E5E-4701-8C13-607CA14DBE6F}" srcOrd="0" destOrd="0" presId="urn:microsoft.com/office/officeart/2005/8/layout/list1"/>
    <dgm:cxn modelId="{C2D69A90-F8CB-4C0E-938F-4A7F3B5E140F}" srcId="{909C7624-1F69-4CDC-8AE0-2CB2EC24C53F}" destId="{7F9C1407-D15B-4878-AF7E-C8C0BFD5398F}" srcOrd="3" destOrd="0" parTransId="{1D0874D0-26AE-42A4-AC6C-F65D5811FD8F}" sibTransId="{04502FDD-8903-44DB-BD74-2AD55DA6B71A}"/>
    <dgm:cxn modelId="{7D6817B6-1179-4BC1-8D2A-7630AA2AFA7E}" srcId="{58E7C239-2C19-4D6C-80EA-9185C5239C4B}" destId="{CAE862FF-CA5B-4747-ADFF-CF58ACAFAFC6}" srcOrd="0" destOrd="0" parTransId="{24484A2B-15D0-4C14-80B8-CD0BC0939D3C}" sibTransId="{DDFCBA3F-1926-41C6-9FC2-76389A182886}"/>
    <dgm:cxn modelId="{A2C91EBB-6BDE-4451-828D-988BC5A26D65}" type="presOf" srcId="{7F9C1407-D15B-4878-AF7E-C8C0BFD5398F}" destId="{E4AF9104-79FB-4ADD-A13A-3A5D6A4CCF2E}" srcOrd="1" destOrd="0" presId="urn:microsoft.com/office/officeart/2005/8/layout/list1"/>
    <dgm:cxn modelId="{75C7E2D2-E6CB-427D-88B6-9529484F6C5A}" type="presOf" srcId="{618CBCC4-963B-487F-95A8-FE098F80C77C}" destId="{C350284D-3B7D-4E17-989E-4834787605C4}" srcOrd="0" destOrd="0" presId="urn:microsoft.com/office/officeart/2005/8/layout/list1"/>
    <dgm:cxn modelId="{300103D4-EE9F-4417-9343-9A7DADA2A6DB}" type="presOf" srcId="{618CBCC4-963B-487F-95A8-FE098F80C77C}" destId="{2C52ED92-EE03-4A82-ADBD-1803867D9FFD}" srcOrd="1" destOrd="0" presId="urn:microsoft.com/office/officeart/2005/8/layout/list1"/>
    <dgm:cxn modelId="{BEA71EE1-6FDF-4C5F-A48C-7FE82EF133F4}" type="presOf" srcId="{58E7C239-2C19-4D6C-80EA-9185C5239C4B}" destId="{FB397A9B-3538-4D17-85F2-D651EA4880F6}" srcOrd="0" destOrd="0" presId="urn:microsoft.com/office/officeart/2005/8/layout/list1"/>
    <dgm:cxn modelId="{975010E3-6618-4DD0-8282-426E95C0CB86}" srcId="{909C7624-1F69-4CDC-8AE0-2CB2EC24C53F}" destId="{A6529A95-2637-467D-A015-3EA0E034070A}" srcOrd="2" destOrd="0" parTransId="{4E151738-5B7E-46ED-B8F7-FC7CBCD86B52}" sibTransId="{C7E098A5-8120-4651-9A69-FAA68D14FF23}"/>
    <dgm:cxn modelId="{CFD4A7E8-DD43-4940-99E3-0C8AAEAC75FD}" type="presOf" srcId="{909C7624-1F69-4CDC-8AE0-2CB2EC24C53F}" destId="{C7B815B8-E06E-46E9-89F1-17BEEEEDDEC6}" srcOrd="0" destOrd="0" presId="urn:microsoft.com/office/officeart/2005/8/layout/list1"/>
    <dgm:cxn modelId="{939EB528-7C76-4275-AD7E-8AC2E53B4954}" type="presParOf" srcId="{C7B815B8-E06E-46E9-89F1-17BEEEEDDEC6}" destId="{9947403F-57D4-4DB6-9308-BE2EC6D14C2A}" srcOrd="0" destOrd="0" presId="urn:microsoft.com/office/officeart/2005/8/layout/list1"/>
    <dgm:cxn modelId="{CC7876F0-3127-4DD6-93DD-9CB8D8DB23AE}" type="presParOf" srcId="{9947403F-57D4-4DB6-9308-BE2EC6D14C2A}" destId="{FB397A9B-3538-4D17-85F2-D651EA4880F6}" srcOrd="0" destOrd="0" presId="urn:microsoft.com/office/officeart/2005/8/layout/list1"/>
    <dgm:cxn modelId="{1A560AFE-31B1-4B4D-94D1-0595A055DC67}" type="presParOf" srcId="{9947403F-57D4-4DB6-9308-BE2EC6D14C2A}" destId="{A5D32434-C32E-4028-8295-DCF5FB37BE53}" srcOrd="1" destOrd="0" presId="urn:microsoft.com/office/officeart/2005/8/layout/list1"/>
    <dgm:cxn modelId="{6899DA3B-C1B3-4396-B0B7-456E9AC409E6}" type="presParOf" srcId="{C7B815B8-E06E-46E9-89F1-17BEEEEDDEC6}" destId="{6429F53A-88A3-40F8-9F15-B130F4C766A9}" srcOrd="1" destOrd="0" presId="urn:microsoft.com/office/officeart/2005/8/layout/list1"/>
    <dgm:cxn modelId="{A851F012-F295-4ECC-934C-A24CB4670285}" type="presParOf" srcId="{C7B815B8-E06E-46E9-89F1-17BEEEEDDEC6}" destId="{7070BC85-1860-4E2A-8A09-B273F5B15BB7}" srcOrd="2" destOrd="0" presId="urn:microsoft.com/office/officeart/2005/8/layout/list1"/>
    <dgm:cxn modelId="{44A90F7F-8CC1-4903-9638-69E677EAC190}" type="presParOf" srcId="{C7B815B8-E06E-46E9-89F1-17BEEEEDDEC6}" destId="{B9CD85D7-B9EA-44F7-83D0-6B29E0317A71}" srcOrd="3" destOrd="0" presId="urn:microsoft.com/office/officeart/2005/8/layout/list1"/>
    <dgm:cxn modelId="{C0045063-893F-426C-891E-0F6BB1CD2B4C}" type="presParOf" srcId="{C7B815B8-E06E-46E9-89F1-17BEEEEDDEC6}" destId="{ABFCA1E3-F467-4EE1-B638-E4C557E0C575}" srcOrd="4" destOrd="0" presId="urn:microsoft.com/office/officeart/2005/8/layout/list1"/>
    <dgm:cxn modelId="{07E9CE14-4FEE-4819-BC22-E082780BBF1A}" type="presParOf" srcId="{ABFCA1E3-F467-4EE1-B638-E4C557E0C575}" destId="{C350284D-3B7D-4E17-989E-4834787605C4}" srcOrd="0" destOrd="0" presId="urn:microsoft.com/office/officeart/2005/8/layout/list1"/>
    <dgm:cxn modelId="{35232E67-D964-45D2-BA9E-69A86596EF93}" type="presParOf" srcId="{ABFCA1E3-F467-4EE1-B638-E4C557E0C575}" destId="{2C52ED92-EE03-4A82-ADBD-1803867D9FFD}" srcOrd="1" destOrd="0" presId="urn:microsoft.com/office/officeart/2005/8/layout/list1"/>
    <dgm:cxn modelId="{836CAA0A-3821-4601-AAD4-8DBD28F65F4A}" type="presParOf" srcId="{C7B815B8-E06E-46E9-89F1-17BEEEEDDEC6}" destId="{9EA415AA-6EF1-498E-8C19-E9A09A94B012}" srcOrd="5" destOrd="0" presId="urn:microsoft.com/office/officeart/2005/8/layout/list1"/>
    <dgm:cxn modelId="{B65589F5-7F41-46D6-8AEA-404D1C54FA83}" type="presParOf" srcId="{C7B815B8-E06E-46E9-89F1-17BEEEEDDEC6}" destId="{E9078F77-9050-400F-AAC9-B9946A189D97}" srcOrd="6" destOrd="0" presId="urn:microsoft.com/office/officeart/2005/8/layout/list1"/>
    <dgm:cxn modelId="{C8F15630-EF11-4175-A22F-AE861AE3F497}" type="presParOf" srcId="{C7B815B8-E06E-46E9-89F1-17BEEEEDDEC6}" destId="{8BB3BF96-B483-4A41-94C5-7B558AECBD23}" srcOrd="7" destOrd="0" presId="urn:microsoft.com/office/officeart/2005/8/layout/list1"/>
    <dgm:cxn modelId="{03F113DC-4A2F-4D6F-AC84-32C0629162A8}" type="presParOf" srcId="{C7B815B8-E06E-46E9-89F1-17BEEEEDDEC6}" destId="{8A7C3840-5EA9-454A-B2C8-46FEB202CC06}" srcOrd="8" destOrd="0" presId="urn:microsoft.com/office/officeart/2005/8/layout/list1"/>
    <dgm:cxn modelId="{48F2C64D-97A0-4429-A2BC-E3909618E2EB}" type="presParOf" srcId="{8A7C3840-5EA9-454A-B2C8-46FEB202CC06}" destId="{F41D14A3-9E5E-4701-8C13-607CA14DBE6F}" srcOrd="0" destOrd="0" presId="urn:microsoft.com/office/officeart/2005/8/layout/list1"/>
    <dgm:cxn modelId="{347D5B3F-12F3-480C-B860-9B7B4FF7CFAC}" type="presParOf" srcId="{8A7C3840-5EA9-454A-B2C8-46FEB202CC06}" destId="{027A7B86-E5C2-4A75-99CA-8747D3A07731}" srcOrd="1" destOrd="0" presId="urn:microsoft.com/office/officeart/2005/8/layout/list1"/>
    <dgm:cxn modelId="{0CF9F8CA-A741-4468-946F-057D1EEE0FF0}" type="presParOf" srcId="{C7B815B8-E06E-46E9-89F1-17BEEEEDDEC6}" destId="{6A398C0C-B846-4615-8192-DBBC25930B18}" srcOrd="9" destOrd="0" presId="urn:microsoft.com/office/officeart/2005/8/layout/list1"/>
    <dgm:cxn modelId="{11E2B739-16F3-40D1-B122-DE9E51AB785D}" type="presParOf" srcId="{C7B815B8-E06E-46E9-89F1-17BEEEEDDEC6}" destId="{08793761-CA96-4351-96EC-BF52FBFA0F03}" srcOrd="10" destOrd="0" presId="urn:microsoft.com/office/officeart/2005/8/layout/list1"/>
    <dgm:cxn modelId="{7C9EA1CB-8D68-491C-BEDD-19B30FBABF16}" type="presParOf" srcId="{C7B815B8-E06E-46E9-89F1-17BEEEEDDEC6}" destId="{CA2DC097-D0F6-4EFA-BCE6-7CAF6E37C633}" srcOrd="11" destOrd="0" presId="urn:microsoft.com/office/officeart/2005/8/layout/list1"/>
    <dgm:cxn modelId="{8EC07F15-2546-45AF-97B4-29E9EA07D515}" type="presParOf" srcId="{C7B815B8-E06E-46E9-89F1-17BEEEEDDEC6}" destId="{8E3AB280-4F67-4DEF-AC26-B03CAB91D027}" srcOrd="12" destOrd="0" presId="urn:microsoft.com/office/officeart/2005/8/layout/list1"/>
    <dgm:cxn modelId="{4ED62088-1DF9-4844-BD50-DC5F92D4EC2A}" type="presParOf" srcId="{8E3AB280-4F67-4DEF-AC26-B03CAB91D027}" destId="{B3549765-2855-48E8-BF12-C54D7640558D}" srcOrd="0" destOrd="0" presId="urn:microsoft.com/office/officeart/2005/8/layout/list1"/>
    <dgm:cxn modelId="{3B49366D-79F1-485E-8B7C-5E5F689F6965}" type="presParOf" srcId="{8E3AB280-4F67-4DEF-AC26-B03CAB91D027}" destId="{E4AF9104-79FB-4ADD-A13A-3A5D6A4CCF2E}" srcOrd="1" destOrd="0" presId="urn:microsoft.com/office/officeart/2005/8/layout/list1"/>
    <dgm:cxn modelId="{B0CCBDC2-8AE4-48A4-8AB8-4154A398FF83}" type="presParOf" srcId="{C7B815B8-E06E-46E9-89F1-17BEEEEDDEC6}" destId="{067C58A5-63A0-49E6-9471-D6DBFDDD2E58}" srcOrd="13" destOrd="0" presId="urn:microsoft.com/office/officeart/2005/8/layout/list1"/>
    <dgm:cxn modelId="{B449946A-F9BD-4CE5-8433-1375D4243D8C}" type="presParOf" srcId="{C7B815B8-E06E-46E9-89F1-17BEEEEDDEC6}" destId="{6E4B855F-16AD-4CBB-98F3-6E330AF0D194}" srcOrd="14"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09C7624-1F69-4CDC-8AE0-2CB2EC24C53F}" type="doc">
      <dgm:prSet loTypeId="urn:microsoft.com/office/officeart/2005/8/layout/list1" loCatId="list" qsTypeId="urn:microsoft.com/office/officeart/2005/8/quickstyle/simple1" qsCatId="simple" csTypeId="urn:microsoft.com/office/officeart/2005/8/colors/accent1_4" csCatId="accent1" phldr="1"/>
      <dgm:spPr/>
      <dgm:t>
        <a:bodyPr/>
        <a:lstStyle/>
        <a:p>
          <a:endParaRPr lang="en-US"/>
        </a:p>
      </dgm:t>
    </dgm:pt>
    <dgm:pt modelId="{77C0318C-9862-4EDE-9AEF-31E242ED5790}">
      <dgm:prSet phldrT="[Text]" custT="1"/>
      <dgm:spPr/>
      <dgm:t>
        <a:bodyPr/>
        <a:lstStyle/>
        <a:p>
          <a:r>
            <a:rPr lang="en-US" sz="2000"/>
            <a:t>Highlighter (including online tool), Colored Pencils</a:t>
          </a:r>
        </a:p>
      </dgm:t>
    </dgm:pt>
    <dgm:pt modelId="{7A882FD7-046D-46B9-9E9D-E23F778DB9AB}" type="parTrans" cxnId="{2C4B2A94-4DD9-4245-A7D6-2025F3D50F5E}">
      <dgm:prSet/>
      <dgm:spPr/>
      <dgm:t>
        <a:bodyPr/>
        <a:lstStyle/>
        <a:p>
          <a:endParaRPr lang="en-US"/>
        </a:p>
      </dgm:t>
    </dgm:pt>
    <dgm:pt modelId="{05522012-E7A7-4107-9C9E-C2196068C014}" type="sibTrans" cxnId="{2C4B2A94-4DD9-4245-A7D6-2025F3D50F5E}">
      <dgm:prSet/>
      <dgm:spPr/>
      <dgm:t>
        <a:bodyPr/>
        <a:lstStyle/>
        <a:p>
          <a:endParaRPr lang="en-US"/>
        </a:p>
      </dgm:t>
    </dgm:pt>
    <dgm:pt modelId="{5FE24774-CB17-43C0-8957-A62861E63EEE}">
      <dgm:prSet custT="1"/>
      <dgm:spPr>
        <a:solidFill>
          <a:schemeClr val="accent1">
            <a:lumMod val="50000"/>
          </a:schemeClr>
        </a:solidFill>
      </dgm:spPr>
      <dgm:t>
        <a:bodyPr/>
        <a:lstStyle/>
        <a:p>
          <a:pPr rtl="0"/>
          <a:r>
            <a:rPr lang="en-US" sz="2000"/>
            <a:t>Individual Administration</a:t>
          </a:r>
          <a:r>
            <a:rPr lang="en-US" sz="2000">
              <a:latin typeface="Calibri Light" panose="020F0302020204030204"/>
            </a:rPr>
            <a:t> </a:t>
          </a:r>
          <a:endParaRPr lang="en-US" sz="2000"/>
        </a:p>
      </dgm:t>
    </dgm:pt>
    <dgm:pt modelId="{021E3F3A-BACF-44A6-BF1D-436319603D7F}" type="parTrans" cxnId="{243C914A-C8F1-4A42-B531-5EF5AC083009}">
      <dgm:prSet/>
      <dgm:spPr/>
      <dgm:t>
        <a:bodyPr/>
        <a:lstStyle/>
        <a:p>
          <a:endParaRPr lang="en-US"/>
        </a:p>
      </dgm:t>
    </dgm:pt>
    <dgm:pt modelId="{C4E93B40-6792-4A89-9239-245F19176691}" type="sibTrans" cxnId="{243C914A-C8F1-4A42-B531-5EF5AC083009}">
      <dgm:prSet/>
      <dgm:spPr/>
      <dgm:t>
        <a:bodyPr/>
        <a:lstStyle/>
        <a:p>
          <a:endParaRPr lang="en-US"/>
        </a:p>
      </dgm:t>
    </dgm:pt>
    <dgm:pt modelId="{BD1AAA83-9E8A-4FB0-9D8F-65B31682338E}">
      <dgm:prSet custT="1"/>
      <dgm:spPr/>
      <dgm:t>
        <a:bodyPr/>
        <a:lstStyle/>
        <a:p>
          <a:pPr>
            <a:buClr>
              <a:srgbClr val="F16038"/>
            </a:buClr>
            <a:buFont typeface="Wingdings" panose="05000000000000000000" pitchFamily="2" charset="2"/>
            <a:buChar char="§"/>
          </a:pPr>
          <a:r>
            <a:rPr lang="en-US" sz="2000">
              <a:solidFill>
                <a:srgbClr val="0D6CB9"/>
              </a:solidFill>
            </a:rPr>
            <a:t>any other tool that can be used to focus attention on text</a:t>
          </a:r>
        </a:p>
      </dgm:t>
    </dgm:pt>
    <dgm:pt modelId="{EE6A27CC-0E9C-40AA-BA5B-74709E1E27D9}" type="parTrans" cxnId="{03F91550-D10F-407B-A616-CA73745883A2}">
      <dgm:prSet/>
      <dgm:spPr/>
      <dgm:t>
        <a:bodyPr/>
        <a:lstStyle/>
        <a:p>
          <a:endParaRPr lang="en-US"/>
        </a:p>
      </dgm:t>
    </dgm:pt>
    <dgm:pt modelId="{9F3B3178-EBB5-4D73-9CA2-245762D513DC}" type="sibTrans" cxnId="{03F91550-D10F-407B-A616-CA73745883A2}">
      <dgm:prSet/>
      <dgm:spPr/>
      <dgm:t>
        <a:bodyPr/>
        <a:lstStyle/>
        <a:p>
          <a:endParaRPr lang="en-US"/>
        </a:p>
      </dgm:t>
    </dgm:pt>
    <dgm:pt modelId="{83163333-30DA-456A-8283-094367AD1544}">
      <dgm:prSet custT="1"/>
      <dgm:spPr/>
      <dgm:t>
        <a:bodyPr/>
        <a:lstStyle/>
        <a:p>
          <a:r>
            <a:rPr lang="en-US" sz="2000"/>
            <a:t>Zoom Tool for Online Assessments and Magnifying Devices</a:t>
          </a:r>
        </a:p>
      </dgm:t>
    </dgm:pt>
    <dgm:pt modelId="{A6D55037-2B59-42DC-B35C-4856F2E52A7B}" type="parTrans" cxnId="{4BB2DF32-B012-4D97-927F-CFA7AA586FE9}">
      <dgm:prSet/>
      <dgm:spPr/>
      <dgm:t>
        <a:bodyPr/>
        <a:lstStyle/>
        <a:p>
          <a:endParaRPr lang="en-US"/>
        </a:p>
      </dgm:t>
    </dgm:pt>
    <dgm:pt modelId="{F5405B00-6AF1-48B2-A124-8A1DAF8D0184}" type="sibTrans" cxnId="{4BB2DF32-B012-4D97-927F-CFA7AA586FE9}">
      <dgm:prSet/>
      <dgm:spPr/>
      <dgm:t>
        <a:bodyPr/>
        <a:lstStyle/>
        <a:p>
          <a:endParaRPr lang="en-US"/>
        </a:p>
      </dgm:t>
    </dgm:pt>
    <dgm:pt modelId="{C7B815B8-E06E-46E9-89F1-17BEEEEDDEC6}" type="pres">
      <dgm:prSet presAssocID="{909C7624-1F69-4CDC-8AE0-2CB2EC24C53F}" presName="linear" presStyleCnt="0">
        <dgm:presLayoutVars>
          <dgm:dir/>
          <dgm:animLvl val="lvl"/>
          <dgm:resizeHandles val="exact"/>
        </dgm:presLayoutVars>
      </dgm:prSet>
      <dgm:spPr/>
    </dgm:pt>
    <dgm:pt modelId="{351170EF-8128-4D03-9CC2-4FEFD0251BB2}" type="pres">
      <dgm:prSet presAssocID="{77C0318C-9862-4EDE-9AEF-31E242ED5790}" presName="parentLin" presStyleCnt="0"/>
      <dgm:spPr/>
    </dgm:pt>
    <dgm:pt modelId="{7B09038B-3C92-4972-B7CD-F241875EEFFF}" type="pres">
      <dgm:prSet presAssocID="{77C0318C-9862-4EDE-9AEF-31E242ED5790}" presName="parentLeftMargin" presStyleLbl="node1" presStyleIdx="0" presStyleCnt="3"/>
      <dgm:spPr/>
    </dgm:pt>
    <dgm:pt modelId="{181A1799-AA6A-4E1E-A08B-70CCE6F0AFED}" type="pres">
      <dgm:prSet presAssocID="{77C0318C-9862-4EDE-9AEF-31E242ED5790}" presName="parentText" presStyleLbl="node1" presStyleIdx="0" presStyleCnt="3">
        <dgm:presLayoutVars>
          <dgm:chMax val="0"/>
          <dgm:bulletEnabled val="1"/>
        </dgm:presLayoutVars>
      </dgm:prSet>
      <dgm:spPr/>
    </dgm:pt>
    <dgm:pt modelId="{E3E0F7B1-0959-4333-980E-E19BA34D57B2}" type="pres">
      <dgm:prSet presAssocID="{77C0318C-9862-4EDE-9AEF-31E242ED5790}" presName="negativeSpace" presStyleCnt="0"/>
      <dgm:spPr/>
    </dgm:pt>
    <dgm:pt modelId="{C0E3BF1D-5F44-4AB0-BAAA-806A265C9232}" type="pres">
      <dgm:prSet presAssocID="{77C0318C-9862-4EDE-9AEF-31E242ED5790}" presName="childText" presStyleLbl="conFgAcc1" presStyleIdx="0" presStyleCnt="3">
        <dgm:presLayoutVars>
          <dgm:bulletEnabled val="1"/>
        </dgm:presLayoutVars>
      </dgm:prSet>
      <dgm:spPr/>
    </dgm:pt>
    <dgm:pt modelId="{B600BFDE-79F3-40DE-A380-370053215B89}" type="pres">
      <dgm:prSet presAssocID="{05522012-E7A7-4107-9C9E-C2196068C014}" presName="spaceBetweenRectangles" presStyleCnt="0"/>
      <dgm:spPr/>
    </dgm:pt>
    <dgm:pt modelId="{25438758-9B85-4633-A475-DCAE5898BFDD}" type="pres">
      <dgm:prSet presAssocID="{5FE24774-CB17-43C0-8957-A62861E63EEE}" presName="parentLin" presStyleCnt="0"/>
      <dgm:spPr/>
    </dgm:pt>
    <dgm:pt modelId="{602D1408-14F3-41D4-84EE-B338A74BBC37}" type="pres">
      <dgm:prSet presAssocID="{5FE24774-CB17-43C0-8957-A62861E63EEE}" presName="parentLeftMargin" presStyleLbl="node1" presStyleIdx="0" presStyleCnt="3"/>
      <dgm:spPr/>
    </dgm:pt>
    <dgm:pt modelId="{D406F779-6A6C-492E-9B17-A69573DA1A55}" type="pres">
      <dgm:prSet presAssocID="{5FE24774-CB17-43C0-8957-A62861E63EEE}" presName="parentText" presStyleLbl="node1" presStyleIdx="1" presStyleCnt="3">
        <dgm:presLayoutVars>
          <dgm:chMax val="0"/>
          <dgm:bulletEnabled val="1"/>
        </dgm:presLayoutVars>
      </dgm:prSet>
      <dgm:spPr/>
    </dgm:pt>
    <dgm:pt modelId="{9B7FBF19-0E6A-4656-B418-739660114EF2}" type="pres">
      <dgm:prSet presAssocID="{5FE24774-CB17-43C0-8957-A62861E63EEE}" presName="negativeSpace" presStyleCnt="0"/>
      <dgm:spPr/>
    </dgm:pt>
    <dgm:pt modelId="{325055E2-CFFF-4CD8-8C76-86A94610B1E0}" type="pres">
      <dgm:prSet presAssocID="{5FE24774-CB17-43C0-8957-A62861E63EEE}" presName="childText" presStyleLbl="conFgAcc1" presStyleIdx="1" presStyleCnt="3">
        <dgm:presLayoutVars>
          <dgm:bulletEnabled val="1"/>
        </dgm:presLayoutVars>
      </dgm:prSet>
      <dgm:spPr/>
    </dgm:pt>
    <dgm:pt modelId="{A2B2D55B-BDBA-4273-9238-4625DAC7B592}" type="pres">
      <dgm:prSet presAssocID="{C4E93B40-6792-4A89-9239-245F19176691}" presName="spaceBetweenRectangles" presStyleCnt="0"/>
      <dgm:spPr/>
    </dgm:pt>
    <dgm:pt modelId="{23CF7C6E-BE09-47C2-814E-A1ACD1C34F61}" type="pres">
      <dgm:prSet presAssocID="{83163333-30DA-456A-8283-094367AD1544}" presName="parentLin" presStyleCnt="0"/>
      <dgm:spPr/>
    </dgm:pt>
    <dgm:pt modelId="{28C67760-9FFC-48BB-BE9B-6C59CE082463}" type="pres">
      <dgm:prSet presAssocID="{83163333-30DA-456A-8283-094367AD1544}" presName="parentLeftMargin" presStyleLbl="node1" presStyleIdx="1" presStyleCnt="3"/>
      <dgm:spPr/>
    </dgm:pt>
    <dgm:pt modelId="{D2781BA7-6156-4929-A7CB-04200C9AE968}" type="pres">
      <dgm:prSet presAssocID="{83163333-30DA-456A-8283-094367AD1544}" presName="parentText" presStyleLbl="node1" presStyleIdx="2" presStyleCnt="3">
        <dgm:presLayoutVars>
          <dgm:chMax val="0"/>
          <dgm:bulletEnabled val="1"/>
        </dgm:presLayoutVars>
      </dgm:prSet>
      <dgm:spPr/>
    </dgm:pt>
    <dgm:pt modelId="{1DA78BE3-0B98-40D5-B939-C6BA8CECFC56}" type="pres">
      <dgm:prSet presAssocID="{83163333-30DA-456A-8283-094367AD1544}" presName="negativeSpace" presStyleCnt="0"/>
      <dgm:spPr/>
    </dgm:pt>
    <dgm:pt modelId="{0A9BA629-EF65-44F3-A9A3-2B7DEBAC6F1B}" type="pres">
      <dgm:prSet presAssocID="{83163333-30DA-456A-8283-094367AD1544}" presName="childText" presStyleLbl="conFgAcc1" presStyleIdx="2" presStyleCnt="3">
        <dgm:presLayoutVars>
          <dgm:bulletEnabled val="1"/>
        </dgm:presLayoutVars>
      </dgm:prSet>
      <dgm:spPr/>
    </dgm:pt>
  </dgm:ptLst>
  <dgm:cxnLst>
    <dgm:cxn modelId="{4BB2DF32-B012-4D97-927F-CFA7AA586FE9}" srcId="{909C7624-1F69-4CDC-8AE0-2CB2EC24C53F}" destId="{83163333-30DA-456A-8283-094367AD1544}" srcOrd="2" destOrd="0" parTransId="{A6D55037-2B59-42DC-B35C-4856F2E52A7B}" sibTransId="{F5405B00-6AF1-48B2-A124-8A1DAF8D0184}"/>
    <dgm:cxn modelId="{5EDE0447-E184-452F-AC8F-B2D975956A83}" type="presOf" srcId="{BD1AAA83-9E8A-4FB0-9D8F-65B31682338E}" destId="{C0E3BF1D-5F44-4AB0-BAAA-806A265C9232}" srcOrd="0" destOrd="0" presId="urn:microsoft.com/office/officeart/2005/8/layout/list1"/>
    <dgm:cxn modelId="{243C914A-C8F1-4A42-B531-5EF5AC083009}" srcId="{909C7624-1F69-4CDC-8AE0-2CB2EC24C53F}" destId="{5FE24774-CB17-43C0-8957-A62861E63EEE}" srcOrd="1" destOrd="0" parTransId="{021E3F3A-BACF-44A6-BF1D-436319603D7F}" sibTransId="{C4E93B40-6792-4A89-9239-245F19176691}"/>
    <dgm:cxn modelId="{39B4FF6C-80AF-4505-B6F4-B8A26F43E59F}" type="presOf" srcId="{77C0318C-9862-4EDE-9AEF-31E242ED5790}" destId="{7B09038B-3C92-4972-B7CD-F241875EEFFF}" srcOrd="0" destOrd="0" presId="urn:microsoft.com/office/officeart/2005/8/layout/list1"/>
    <dgm:cxn modelId="{03F91550-D10F-407B-A616-CA73745883A2}" srcId="{77C0318C-9862-4EDE-9AEF-31E242ED5790}" destId="{BD1AAA83-9E8A-4FB0-9D8F-65B31682338E}" srcOrd="0" destOrd="0" parTransId="{EE6A27CC-0E9C-40AA-BA5B-74709E1E27D9}" sibTransId="{9F3B3178-EBB5-4D73-9CA2-245762D513DC}"/>
    <dgm:cxn modelId="{2C4B2A94-4DD9-4245-A7D6-2025F3D50F5E}" srcId="{909C7624-1F69-4CDC-8AE0-2CB2EC24C53F}" destId="{77C0318C-9862-4EDE-9AEF-31E242ED5790}" srcOrd="0" destOrd="0" parTransId="{7A882FD7-046D-46B9-9E9D-E23F778DB9AB}" sibTransId="{05522012-E7A7-4107-9C9E-C2196068C014}"/>
    <dgm:cxn modelId="{CD278197-DF0B-4CE9-A26D-36B94A849352}" type="presOf" srcId="{77C0318C-9862-4EDE-9AEF-31E242ED5790}" destId="{181A1799-AA6A-4E1E-A08B-70CCE6F0AFED}" srcOrd="1" destOrd="0" presId="urn:microsoft.com/office/officeart/2005/8/layout/list1"/>
    <dgm:cxn modelId="{5C1D5B9C-0084-4E21-B2CF-33170D5F9040}" type="presOf" srcId="{5FE24774-CB17-43C0-8957-A62861E63EEE}" destId="{D406F779-6A6C-492E-9B17-A69573DA1A55}" srcOrd="1" destOrd="0" presId="urn:microsoft.com/office/officeart/2005/8/layout/list1"/>
    <dgm:cxn modelId="{4F1B15C5-9E58-4A59-BF76-AB24F52EAECF}" type="presOf" srcId="{83163333-30DA-456A-8283-094367AD1544}" destId="{D2781BA7-6156-4929-A7CB-04200C9AE968}" srcOrd="1" destOrd="0" presId="urn:microsoft.com/office/officeart/2005/8/layout/list1"/>
    <dgm:cxn modelId="{CFD4A7E8-DD43-4940-99E3-0C8AAEAC75FD}" type="presOf" srcId="{909C7624-1F69-4CDC-8AE0-2CB2EC24C53F}" destId="{C7B815B8-E06E-46E9-89F1-17BEEEEDDEC6}" srcOrd="0" destOrd="0" presId="urn:microsoft.com/office/officeart/2005/8/layout/list1"/>
    <dgm:cxn modelId="{54395DF3-0B53-4A5E-917D-F89A99AF17A0}" type="presOf" srcId="{5FE24774-CB17-43C0-8957-A62861E63EEE}" destId="{602D1408-14F3-41D4-84EE-B338A74BBC37}" srcOrd="0" destOrd="0" presId="urn:microsoft.com/office/officeart/2005/8/layout/list1"/>
    <dgm:cxn modelId="{6762ECF4-3205-477A-943F-5AD03AE64FFB}" type="presOf" srcId="{83163333-30DA-456A-8283-094367AD1544}" destId="{28C67760-9FFC-48BB-BE9B-6C59CE082463}" srcOrd="0" destOrd="0" presId="urn:microsoft.com/office/officeart/2005/8/layout/list1"/>
    <dgm:cxn modelId="{BB8709D9-4FE9-4959-93AE-41AE360E651E}" type="presParOf" srcId="{C7B815B8-E06E-46E9-89F1-17BEEEEDDEC6}" destId="{351170EF-8128-4D03-9CC2-4FEFD0251BB2}" srcOrd="0" destOrd="0" presId="urn:microsoft.com/office/officeart/2005/8/layout/list1"/>
    <dgm:cxn modelId="{DE2F233A-BBE8-4D49-B4BE-DB116F4F718D}" type="presParOf" srcId="{351170EF-8128-4D03-9CC2-4FEFD0251BB2}" destId="{7B09038B-3C92-4972-B7CD-F241875EEFFF}" srcOrd="0" destOrd="0" presId="urn:microsoft.com/office/officeart/2005/8/layout/list1"/>
    <dgm:cxn modelId="{236BD43D-D9BD-4A66-89A3-7D749ED0208E}" type="presParOf" srcId="{351170EF-8128-4D03-9CC2-4FEFD0251BB2}" destId="{181A1799-AA6A-4E1E-A08B-70CCE6F0AFED}" srcOrd="1" destOrd="0" presId="urn:microsoft.com/office/officeart/2005/8/layout/list1"/>
    <dgm:cxn modelId="{3AC83050-8E36-43F3-A19F-BB1377FB1860}" type="presParOf" srcId="{C7B815B8-E06E-46E9-89F1-17BEEEEDDEC6}" destId="{E3E0F7B1-0959-4333-980E-E19BA34D57B2}" srcOrd="1" destOrd="0" presId="urn:microsoft.com/office/officeart/2005/8/layout/list1"/>
    <dgm:cxn modelId="{4BEC1C49-CF47-44A9-8193-0A6C8BCC1522}" type="presParOf" srcId="{C7B815B8-E06E-46E9-89F1-17BEEEEDDEC6}" destId="{C0E3BF1D-5F44-4AB0-BAAA-806A265C9232}" srcOrd="2" destOrd="0" presId="urn:microsoft.com/office/officeart/2005/8/layout/list1"/>
    <dgm:cxn modelId="{6AAA29CF-6BF2-4439-9962-0C3AED7A76E3}" type="presParOf" srcId="{C7B815B8-E06E-46E9-89F1-17BEEEEDDEC6}" destId="{B600BFDE-79F3-40DE-A380-370053215B89}" srcOrd="3" destOrd="0" presId="urn:microsoft.com/office/officeart/2005/8/layout/list1"/>
    <dgm:cxn modelId="{BF509259-7ED3-4561-8D68-B663690BB667}" type="presParOf" srcId="{C7B815B8-E06E-46E9-89F1-17BEEEEDDEC6}" destId="{25438758-9B85-4633-A475-DCAE5898BFDD}" srcOrd="4" destOrd="0" presId="urn:microsoft.com/office/officeart/2005/8/layout/list1"/>
    <dgm:cxn modelId="{5C832C13-4E26-44EF-B8C2-B3E52D5AD7E7}" type="presParOf" srcId="{25438758-9B85-4633-A475-DCAE5898BFDD}" destId="{602D1408-14F3-41D4-84EE-B338A74BBC37}" srcOrd="0" destOrd="0" presId="urn:microsoft.com/office/officeart/2005/8/layout/list1"/>
    <dgm:cxn modelId="{A3D51302-64D7-44A0-9D32-D6839E3D8B6D}" type="presParOf" srcId="{25438758-9B85-4633-A475-DCAE5898BFDD}" destId="{D406F779-6A6C-492E-9B17-A69573DA1A55}" srcOrd="1" destOrd="0" presId="urn:microsoft.com/office/officeart/2005/8/layout/list1"/>
    <dgm:cxn modelId="{F09BB288-C819-430F-862A-298853793E21}" type="presParOf" srcId="{C7B815B8-E06E-46E9-89F1-17BEEEEDDEC6}" destId="{9B7FBF19-0E6A-4656-B418-739660114EF2}" srcOrd="5" destOrd="0" presId="urn:microsoft.com/office/officeart/2005/8/layout/list1"/>
    <dgm:cxn modelId="{463CA80C-0E73-4602-A9E3-1797A3382E21}" type="presParOf" srcId="{C7B815B8-E06E-46E9-89F1-17BEEEEDDEC6}" destId="{325055E2-CFFF-4CD8-8C76-86A94610B1E0}" srcOrd="6" destOrd="0" presId="urn:microsoft.com/office/officeart/2005/8/layout/list1"/>
    <dgm:cxn modelId="{A2A51865-06FE-4E82-8022-2CF2C6CE6C9A}" type="presParOf" srcId="{C7B815B8-E06E-46E9-89F1-17BEEEEDDEC6}" destId="{A2B2D55B-BDBA-4273-9238-4625DAC7B592}" srcOrd="7" destOrd="0" presId="urn:microsoft.com/office/officeart/2005/8/layout/list1"/>
    <dgm:cxn modelId="{98DA9247-5702-4DE1-AF7F-644F66F86473}" type="presParOf" srcId="{C7B815B8-E06E-46E9-89F1-17BEEEEDDEC6}" destId="{23CF7C6E-BE09-47C2-814E-A1ACD1C34F61}" srcOrd="8" destOrd="0" presId="urn:microsoft.com/office/officeart/2005/8/layout/list1"/>
    <dgm:cxn modelId="{4C4003F1-75D2-40A8-95B5-03574AF4524B}" type="presParOf" srcId="{23CF7C6E-BE09-47C2-814E-A1ACD1C34F61}" destId="{28C67760-9FFC-48BB-BE9B-6C59CE082463}" srcOrd="0" destOrd="0" presId="urn:microsoft.com/office/officeart/2005/8/layout/list1"/>
    <dgm:cxn modelId="{E5EBB239-63A3-470A-99B4-C3F8720EE502}" type="presParOf" srcId="{23CF7C6E-BE09-47C2-814E-A1ACD1C34F61}" destId="{D2781BA7-6156-4929-A7CB-04200C9AE968}" srcOrd="1" destOrd="0" presId="urn:microsoft.com/office/officeart/2005/8/layout/list1"/>
    <dgm:cxn modelId="{E4A653F9-C3C8-4659-8BD3-2FE8372DC720}" type="presParOf" srcId="{C7B815B8-E06E-46E9-89F1-17BEEEEDDEC6}" destId="{1DA78BE3-0B98-40D5-B939-C6BA8CECFC56}" srcOrd="9" destOrd="0" presId="urn:microsoft.com/office/officeart/2005/8/layout/list1"/>
    <dgm:cxn modelId="{D114AE12-37E3-4F0C-A517-98A15C75A6E3}" type="presParOf" srcId="{C7B815B8-E06E-46E9-89F1-17BEEEEDDEC6}" destId="{0A9BA629-EF65-44F3-A9A3-2B7DEBAC6F1B}" srcOrd="10"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6490D8-56F5-4CDE-9018-34B0770F3051}">
      <dsp:nvSpPr>
        <dsp:cNvPr id="0" name=""/>
        <dsp:cNvSpPr/>
      </dsp:nvSpPr>
      <dsp:spPr>
        <a:xfrm>
          <a:off x="0" y="44805"/>
          <a:ext cx="9380758" cy="74353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Accommodation Updates and Reminders</a:t>
          </a:r>
        </a:p>
      </dsp:txBody>
      <dsp:txXfrm>
        <a:off x="36296" y="81101"/>
        <a:ext cx="9308166" cy="670943"/>
      </dsp:txXfrm>
    </dsp:sp>
    <dsp:sp modelId="{AB804FAE-2B08-4156-92C3-093D367C72D8}">
      <dsp:nvSpPr>
        <dsp:cNvPr id="0" name=""/>
        <dsp:cNvSpPr/>
      </dsp:nvSpPr>
      <dsp:spPr>
        <a:xfrm>
          <a:off x="0" y="877620"/>
          <a:ext cx="9380758" cy="74353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TDS Enhancements</a:t>
          </a:r>
        </a:p>
      </dsp:txBody>
      <dsp:txXfrm>
        <a:off x="36296" y="913916"/>
        <a:ext cx="9308166" cy="670943"/>
      </dsp:txXfrm>
    </dsp:sp>
    <dsp:sp modelId="{88AE3BA1-C5E6-483D-8325-2F97E99D008C}">
      <dsp:nvSpPr>
        <dsp:cNvPr id="0" name=""/>
        <dsp:cNvSpPr/>
      </dsp:nvSpPr>
      <dsp:spPr>
        <a:xfrm>
          <a:off x="0" y="1710435"/>
          <a:ext cx="9380758" cy="74353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Accommodations Overview</a:t>
          </a:r>
        </a:p>
      </dsp:txBody>
      <dsp:txXfrm>
        <a:off x="36296" y="1746731"/>
        <a:ext cx="9308166" cy="670943"/>
      </dsp:txXfrm>
    </dsp:sp>
    <dsp:sp modelId="{5FE4BFEE-269B-456E-8FBB-55BBA1F33EFC}">
      <dsp:nvSpPr>
        <dsp:cNvPr id="0" name=""/>
        <dsp:cNvSpPr/>
      </dsp:nvSpPr>
      <dsp:spPr>
        <a:xfrm>
          <a:off x="0" y="2543250"/>
          <a:ext cx="9380758" cy="74353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US" sz="3100" kern="1200" dirty="0"/>
            <a:t>Online and Paper Practice</a:t>
          </a:r>
        </a:p>
      </dsp:txBody>
      <dsp:txXfrm>
        <a:off x="36296" y="2579546"/>
        <a:ext cx="9308166" cy="670943"/>
      </dsp:txXfrm>
    </dsp:sp>
    <dsp:sp modelId="{46492720-1D16-4BA8-989D-E1F1EDD1CC03}">
      <dsp:nvSpPr>
        <dsp:cNvPr id="0" name=""/>
        <dsp:cNvSpPr/>
      </dsp:nvSpPr>
      <dsp:spPr>
        <a:xfrm>
          <a:off x="0" y="3376066"/>
          <a:ext cx="9380758" cy="74353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Accommodation Request Forms</a:t>
          </a:r>
        </a:p>
      </dsp:txBody>
      <dsp:txXfrm>
        <a:off x="36296" y="3412362"/>
        <a:ext cx="9308166" cy="670943"/>
      </dsp:txXfrm>
    </dsp:sp>
    <dsp:sp modelId="{C7A4B0B7-E5D6-43D1-A3D5-53A7E56D4A0B}">
      <dsp:nvSpPr>
        <dsp:cNvPr id="0" name=""/>
        <dsp:cNvSpPr/>
      </dsp:nvSpPr>
      <dsp:spPr>
        <a:xfrm>
          <a:off x="0" y="4208881"/>
          <a:ext cx="9380758" cy="74353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dirty="0"/>
            <a:t>Roll Call and Questions</a:t>
          </a:r>
        </a:p>
      </dsp:txBody>
      <dsp:txXfrm>
        <a:off x="36296" y="4245177"/>
        <a:ext cx="9308166" cy="67094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E3BF1D-5F44-4AB0-BAAA-806A265C9232}">
      <dsp:nvSpPr>
        <dsp:cNvPr id="0" name=""/>
        <dsp:cNvSpPr/>
      </dsp:nvSpPr>
      <dsp:spPr>
        <a:xfrm>
          <a:off x="0" y="341885"/>
          <a:ext cx="11606619" cy="807975"/>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0803" tIns="374904" rIns="900803" bIns="142240" numCol="1" spcCol="1270" anchor="t" anchorCtr="0">
          <a:noAutofit/>
        </a:bodyPr>
        <a:lstStyle/>
        <a:p>
          <a:pPr marL="228600" lvl="1" indent="-228600" algn="l" defTabSz="889000" rtl="0">
            <a:lnSpc>
              <a:spcPct val="90000"/>
            </a:lnSpc>
            <a:spcBef>
              <a:spcPct val="0"/>
            </a:spcBef>
            <a:spcAft>
              <a:spcPct val="15000"/>
            </a:spcAft>
            <a:buClr>
              <a:srgbClr val="F16038"/>
            </a:buClr>
            <a:buFont typeface="Wingdings" panose="05000000000000000000" pitchFamily="2" charset="2"/>
            <a:buChar char="§"/>
          </a:pPr>
          <a:r>
            <a:rPr lang="en-US" sz="2000" kern="1200"/>
            <a:t>e.g., stress ball, headphones, instrumental music</a:t>
          </a:r>
          <a:r>
            <a:rPr lang="en-US" sz="2000" kern="1200">
              <a:latin typeface="Calibri Light" panose="020F0302020204030204"/>
            </a:rPr>
            <a:t> </a:t>
          </a:r>
          <a:endParaRPr lang="en-US" sz="2000" kern="1200"/>
        </a:p>
      </dsp:txBody>
      <dsp:txXfrm>
        <a:off x="0" y="341885"/>
        <a:ext cx="11606619" cy="807975"/>
      </dsp:txXfrm>
    </dsp:sp>
    <dsp:sp modelId="{181A1799-AA6A-4E1E-A08B-70CCE6F0AFED}">
      <dsp:nvSpPr>
        <dsp:cNvPr id="0" name=""/>
        <dsp:cNvSpPr/>
      </dsp:nvSpPr>
      <dsp:spPr>
        <a:xfrm>
          <a:off x="580330" y="76205"/>
          <a:ext cx="8124633" cy="5313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a:lnSpc>
              <a:spcPct val="90000"/>
            </a:lnSpc>
            <a:spcBef>
              <a:spcPct val="0"/>
            </a:spcBef>
            <a:spcAft>
              <a:spcPct val="35000"/>
            </a:spcAft>
            <a:buNone/>
          </a:pPr>
          <a:r>
            <a:rPr lang="en-US" sz="2000" kern="1200"/>
            <a:t>Minimize Distractions</a:t>
          </a:r>
        </a:p>
      </dsp:txBody>
      <dsp:txXfrm>
        <a:off x="606269" y="102144"/>
        <a:ext cx="8072755" cy="479482"/>
      </dsp:txXfrm>
    </dsp:sp>
    <dsp:sp modelId="{FE1AF76A-D9DA-4723-96F5-F45513396C1B}">
      <dsp:nvSpPr>
        <dsp:cNvPr id="0" name=""/>
        <dsp:cNvSpPr/>
      </dsp:nvSpPr>
      <dsp:spPr>
        <a:xfrm>
          <a:off x="0" y="1512740"/>
          <a:ext cx="11606619" cy="10773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0803" tIns="374904" rIns="900803" bIns="142240" numCol="1" spcCol="1270" anchor="t" anchorCtr="0">
          <a:noAutofit/>
        </a:bodyPr>
        <a:lstStyle/>
        <a:p>
          <a:pPr marL="228600" lvl="1" indent="-228600" algn="l" defTabSz="889000">
            <a:lnSpc>
              <a:spcPct val="90000"/>
            </a:lnSpc>
            <a:spcBef>
              <a:spcPct val="0"/>
            </a:spcBef>
            <a:spcAft>
              <a:spcPct val="15000"/>
            </a:spcAft>
            <a:buClr>
              <a:srgbClr val="F16038"/>
            </a:buClr>
            <a:buFont typeface="Wingdings" panose="05000000000000000000" pitchFamily="2" charset="2"/>
            <a:buChar char="§"/>
          </a:pPr>
          <a:r>
            <a:rPr lang="en-US" sz="2000" kern="1200"/>
            <a:t>e.g., test administration directions, state-supplied graph paper, state-supplied reference materials</a:t>
          </a:r>
        </a:p>
      </dsp:txBody>
      <dsp:txXfrm>
        <a:off x="0" y="1512740"/>
        <a:ext cx="11606619" cy="1077300"/>
      </dsp:txXfrm>
    </dsp:sp>
    <dsp:sp modelId="{96B7FA2E-E76C-4C2A-9AEF-75C586248792}">
      <dsp:nvSpPr>
        <dsp:cNvPr id="0" name=""/>
        <dsp:cNvSpPr/>
      </dsp:nvSpPr>
      <dsp:spPr>
        <a:xfrm>
          <a:off x="580330" y="1247060"/>
          <a:ext cx="8124633" cy="5313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Photocopying or Enlarging Non-Secure Test Materials</a:t>
          </a:r>
          <a:r>
            <a:rPr lang="en-US" sz="2000" kern="1200">
              <a:latin typeface="Calibri Light" panose="020F0302020204030204"/>
            </a:rPr>
            <a:t> </a:t>
          </a:r>
          <a:endParaRPr lang="en-US" sz="2000" kern="1200"/>
        </a:p>
      </dsp:txBody>
      <dsp:txXfrm>
        <a:off x="606269" y="1272999"/>
        <a:ext cx="8072755" cy="479482"/>
      </dsp:txXfrm>
    </dsp:sp>
    <dsp:sp modelId="{DD52F6B0-320E-46A1-AED3-A9C0FE5FEFFD}">
      <dsp:nvSpPr>
        <dsp:cNvPr id="0" name=""/>
        <dsp:cNvSpPr/>
      </dsp:nvSpPr>
      <dsp:spPr>
        <a:xfrm>
          <a:off x="0" y="2952920"/>
          <a:ext cx="11606619" cy="4536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74828F-6B50-47A4-8E2C-2567A239794C}">
      <dsp:nvSpPr>
        <dsp:cNvPr id="0" name=""/>
        <dsp:cNvSpPr/>
      </dsp:nvSpPr>
      <dsp:spPr>
        <a:xfrm>
          <a:off x="580330" y="2687240"/>
          <a:ext cx="8124633" cy="5313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Place Marker (Blank)</a:t>
          </a:r>
          <a:r>
            <a:rPr lang="en-US" sz="2000" kern="1200">
              <a:latin typeface="Calibri Light" panose="020F0302020204030204"/>
            </a:rPr>
            <a:t> </a:t>
          </a:r>
          <a:endParaRPr lang="en-US" sz="2000" kern="1200"/>
        </a:p>
      </dsp:txBody>
      <dsp:txXfrm>
        <a:off x="606269" y="2713179"/>
        <a:ext cx="8072755" cy="479482"/>
      </dsp:txXfrm>
    </dsp:sp>
    <dsp:sp modelId="{E23B258F-ED18-4BF7-93CE-83BBAE4FA3BA}">
      <dsp:nvSpPr>
        <dsp:cNvPr id="0" name=""/>
        <dsp:cNvSpPr/>
      </dsp:nvSpPr>
      <dsp:spPr>
        <a:xfrm>
          <a:off x="0" y="3769400"/>
          <a:ext cx="11606619" cy="1077300"/>
        </a:xfrm>
        <a:prstGeom prst="rect">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0803" tIns="374904" rIns="900803" bIns="142240" numCol="1" spcCol="1270" anchor="t" anchorCtr="0">
          <a:noAutofit/>
        </a:bodyPr>
        <a:lstStyle/>
        <a:p>
          <a:pPr marL="228600" lvl="1" indent="-228600" algn="l" defTabSz="889000">
            <a:lnSpc>
              <a:spcPct val="90000"/>
            </a:lnSpc>
            <a:spcBef>
              <a:spcPct val="0"/>
            </a:spcBef>
            <a:spcAft>
              <a:spcPct val="15000"/>
            </a:spcAft>
            <a:buClr>
              <a:srgbClr val="F16038"/>
            </a:buClr>
            <a:buFont typeface="Wingdings" panose="05000000000000000000" pitchFamily="2" charset="2"/>
            <a:buChar char="§"/>
          </a:pPr>
          <a:r>
            <a:rPr lang="en-US" sz="2000" kern="1200"/>
            <a:t>e.g., closed-circuit televisions [CCTVs] or liquid crystal display [LCD] projectors for online tests</a:t>
          </a:r>
        </a:p>
      </dsp:txBody>
      <dsp:txXfrm>
        <a:off x="0" y="3769400"/>
        <a:ext cx="11606619" cy="1077300"/>
      </dsp:txXfrm>
    </dsp:sp>
    <dsp:sp modelId="{C370A106-9427-4BF8-BF88-CA6268C2280F}">
      <dsp:nvSpPr>
        <dsp:cNvPr id="0" name=""/>
        <dsp:cNvSpPr/>
      </dsp:nvSpPr>
      <dsp:spPr>
        <a:xfrm>
          <a:off x="580330" y="3503720"/>
          <a:ext cx="8124633" cy="53136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Projection Devices</a:t>
          </a:r>
          <a:r>
            <a:rPr lang="en-US" sz="2000" kern="1200">
              <a:latin typeface="Calibri Light" panose="020F0302020204030204"/>
            </a:rPr>
            <a:t> </a:t>
          </a:r>
          <a:endParaRPr lang="en-US" sz="2000" kern="1200"/>
        </a:p>
      </dsp:txBody>
      <dsp:txXfrm>
        <a:off x="606269" y="3529659"/>
        <a:ext cx="8072755" cy="47948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51AC78-27B6-4194-95D9-BA13221A34BC}">
      <dsp:nvSpPr>
        <dsp:cNvPr id="0" name=""/>
        <dsp:cNvSpPr/>
      </dsp:nvSpPr>
      <dsp:spPr>
        <a:xfrm>
          <a:off x="0" y="438838"/>
          <a:ext cx="11606619" cy="1014300"/>
        </a:xfrm>
        <a:prstGeom prst="rect">
          <a:avLst/>
        </a:prstGeom>
        <a:solidFill>
          <a:schemeClr val="lt1">
            <a:alpha val="9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0803" tIns="583184" rIns="900803" bIns="142240" numCol="1" spcCol="1270" anchor="t" anchorCtr="0">
          <a:noAutofit/>
        </a:bodyPr>
        <a:lstStyle/>
        <a:p>
          <a:pPr marL="228600" lvl="1" indent="-228600" algn="l" defTabSz="889000">
            <a:lnSpc>
              <a:spcPct val="90000"/>
            </a:lnSpc>
            <a:spcBef>
              <a:spcPct val="0"/>
            </a:spcBef>
            <a:spcAft>
              <a:spcPct val="15000"/>
            </a:spcAft>
            <a:buClr>
              <a:srgbClr val="F16038"/>
            </a:buClr>
            <a:buFont typeface="Wingdings" panose="05000000000000000000" pitchFamily="2" charset="2"/>
            <a:buChar char="§"/>
          </a:pPr>
          <a:r>
            <a:rPr lang="en-US" sz="2000" kern="1200">
              <a:solidFill>
                <a:srgbClr val="0D6CB9"/>
              </a:solidFill>
            </a:rPr>
            <a:t>e.g., PVC pipe, recording device</a:t>
          </a:r>
        </a:p>
      </dsp:txBody>
      <dsp:txXfrm>
        <a:off x="0" y="438838"/>
        <a:ext cx="11606619" cy="1014300"/>
      </dsp:txXfrm>
    </dsp:sp>
    <dsp:sp modelId="{590FDF5B-9F47-411A-ADE1-7E99181BE754}">
      <dsp:nvSpPr>
        <dsp:cNvPr id="0" name=""/>
        <dsp:cNvSpPr/>
      </dsp:nvSpPr>
      <dsp:spPr>
        <a:xfrm>
          <a:off x="580330" y="25558"/>
          <a:ext cx="8124633" cy="826560"/>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Read Test Aloud to Self</a:t>
          </a:r>
          <a:r>
            <a:rPr lang="en-US" sz="2000" kern="1200">
              <a:latin typeface="Calibri Light" panose="020F0302020204030204"/>
            </a:rPr>
            <a:t> </a:t>
          </a:r>
          <a:endParaRPr lang="en-US" sz="2000" kern="1200"/>
        </a:p>
      </dsp:txBody>
      <dsp:txXfrm>
        <a:off x="620679" y="65907"/>
        <a:ext cx="8043935" cy="745862"/>
      </dsp:txXfrm>
    </dsp:sp>
    <dsp:sp modelId="{C28487E2-FA69-4476-8DE2-BCC708589C05}">
      <dsp:nvSpPr>
        <dsp:cNvPr id="0" name=""/>
        <dsp:cNvSpPr/>
      </dsp:nvSpPr>
      <dsp:spPr>
        <a:xfrm>
          <a:off x="0" y="2017618"/>
          <a:ext cx="11606619" cy="1014300"/>
        </a:xfrm>
        <a:prstGeom prst="rect">
          <a:avLst/>
        </a:prstGeom>
        <a:solidFill>
          <a:schemeClr val="lt1">
            <a:alpha val="90000"/>
            <a:hueOff val="0"/>
            <a:satOff val="0"/>
            <a:lumOff val="0"/>
            <a:alphaOff val="0"/>
          </a:schemeClr>
        </a:solidFill>
        <a:ln w="12700" cap="flat" cmpd="sng" algn="ctr">
          <a:solidFill>
            <a:schemeClr val="accent1">
              <a:shade val="50000"/>
              <a:hueOff val="523174"/>
              <a:satOff val="-35779"/>
              <a:lumOff val="336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0803" tIns="583184" rIns="900803" bIns="142240" numCol="1" spcCol="1270" anchor="t" anchorCtr="0">
          <a:noAutofit/>
        </a:bodyPr>
        <a:lstStyle/>
        <a:p>
          <a:pPr marL="228600" lvl="1" indent="-228600" algn="l" defTabSz="889000">
            <a:lnSpc>
              <a:spcPct val="90000"/>
            </a:lnSpc>
            <a:spcBef>
              <a:spcPct val="0"/>
            </a:spcBef>
            <a:spcAft>
              <a:spcPct val="15000"/>
            </a:spcAft>
            <a:buClr>
              <a:srgbClr val="F16038"/>
            </a:buClr>
            <a:buFont typeface="Wingdings" panose="05000000000000000000" pitchFamily="2" charset="2"/>
            <a:buChar char="§"/>
          </a:pPr>
          <a:r>
            <a:rPr lang="en-US" sz="2000" kern="1200" dirty="0">
              <a:solidFill>
                <a:srgbClr val="0D6CB9"/>
              </a:solidFill>
            </a:rPr>
            <a:t>Grade 3 math via TTS</a:t>
          </a:r>
        </a:p>
      </dsp:txBody>
      <dsp:txXfrm>
        <a:off x="0" y="2017618"/>
        <a:ext cx="11606619" cy="1014300"/>
      </dsp:txXfrm>
    </dsp:sp>
    <dsp:sp modelId="{46F1AC03-D4BD-4F37-8620-34A37C40944F}">
      <dsp:nvSpPr>
        <dsp:cNvPr id="0" name=""/>
        <dsp:cNvSpPr/>
      </dsp:nvSpPr>
      <dsp:spPr>
        <a:xfrm>
          <a:off x="580330" y="1604338"/>
          <a:ext cx="8124633" cy="826560"/>
        </a:xfrm>
        <a:prstGeom prst="roundRect">
          <a:avLst/>
        </a:prstGeom>
        <a:solidFill>
          <a:schemeClr val="accent1">
            <a:shade val="50000"/>
            <a:hueOff val="523174"/>
            <a:satOff val="-35779"/>
            <a:lumOff val="336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Reading Assistance</a:t>
          </a:r>
          <a:r>
            <a:rPr lang="en-US" sz="2000" kern="1200">
              <a:latin typeface="Calibri Light" panose="020F0302020204030204"/>
            </a:rPr>
            <a:t> </a:t>
          </a:r>
          <a:endParaRPr lang="en-US" sz="2000" kern="1200"/>
        </a:p>
      </dsp:txBody>
      <dsp:txXfrm>
        <a:off x="620679" y="1644687"/>
        <a:ext cx="8043935" cy="745862"/>
      </dsp:txXfrm>
    </dsp:sp>
    <dsp:sp modelId="{9CB8D7B1-03F4-46F8-9A86-6ECF72E59984}">
      <dsp:nvSpPr>
        <dsp:cNvPr id="0" name=""/>
        <dsp:cNvSpPr/>
      </dsp:nvSpPr>
      <dsp:spPr>
        <a:xfrm>
          <a:off x="0" y="3596397"/>
          <a:ext cx="11606619" cy="1300950"/>
        </a:xfrm>
        <a:prstGeom prst="rect">
          <a:avLst/>
        </a:prstGeom>
        <a:solidFill>
          <a:schemeClr val="lt1">
            <a:alpha val="90000"/>
            <a:hueOff val="0"/>
            <a:satOff val="0"/>
            <a:lumOff val="0"/>
            <a:alphaOff val="0"/>
          </a:schemeClr>
        </a:solidFill>
        <a:ln w="12700" cap="flat" cmpd="sng" algn="ctr">
          <a:solidFill>
            <a:schemeClr val="accent1">
              <a:shade val="50000"/>
              <a:hueOff val="523174"/>
              <a:satOff val="-35779"/>
              <a:lumOff val="336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0803" tIns="583184" rIns="900803" bIns="142240" numCol="1" spcCol="1270" anchor="t" anchorCtr="0">
          <a:noAutofit/>
        </a:bodyPr>
        <a:lstStyle/>
        <a:p>
          <a:pPr marL="228600" lvl="1" indent="-228600" algn="l" defTabSz="889000">
            <a:lnSpc>
              <a:spcPct val="90000"/>
            </a:lnSpc>
            <a:spcBef>
              <a:spcPct val="0"/>
            </a:spcBef>
            <a:spcAft>
              <a:spcPct val="15000"/>
            </a:spcAft>
            <a:buClr>
              <a:srgbClr val="F16038"/>
            </a:buClr>
            <a:buFont typeface="Wingdings" panose="05000000000000000000" pitchFamily="2" charset="2"/>
            <a:buChar char="§"/>
          </a:pPr>
          <a:r>
            <a:rPr lang="en-US" sz="2000" kern="1200" dirty="0">
              <a:solidFill>
                <a:srgbClr val="0D6CB9"/>
              </a:solidFill>
            </a:rPr>
            <a:t>various types of scratch paper, dry erase boards, or any other medium that can be erased, deleted, or destroyed</a:t>
          </a:r>
        </a:p>
      </dsp:txBody>
      <dsp:txXfrm>
        <a:off x="0" y="3596397"/>
        <a:ext cx="11606619" cy="1300950"/>
      </dsp:txXfrm>
    </dsp:sp>
    <dsp:sp modelId="{6514B3D2-6FA8-4A0B-A66B-D9BF98988759}">
      <dsp:nvSpPr>
        <dsp:cNvPr id="0" name=""/>
        <dsp:cNvSpPr/>
      </dsp:nvSpPr>
      <dsp:spPr>
        <a:xfrm>
          <a:off x="580330" y="3183118"/>
          <a:ext cx="8124633" cy="826560"/>
        </a:xfrm>
        <a:prstGeom prst="roundRect">
          <a:avLst/>
        </a:prstGeom>
        <a:solidFill>
          <a:schemeClr val="accent1">
            <a:shade val="50000"/>
            <a:hueOff val="523174"/>
            <a:satOff val="-35779"/>
            <a:lumOff val="336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Scratch Paper/Notes Tool/Sticky Notes</a:t>
          </a:r>
          <a:r>
            <a:rPr lang="en-US" sz="2000" kern="1200">
              <a:latin typeface="Calibri Light" panose="020F0302020204030204"/>
            </a:rPr>
            <a:t> </a:t>
          </a:r>
          <a:endParaRPr lang="en-US" sz="2000" kern="1200"/>
        </a:p>
      </dsp:txBody>
      <dsp:txXfrm>
        <a:off x="620679" y="3223467"/>
        <a:ext cx="8043935" cy="74586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E3BF1D-5F44-4AB0-BAAA-806A265C9232}">
      <dsp:nvSpPr>
        <dsp:cNvPr id="0" name=""/>
        <dsp:cNvSpPr/>
      </dsp:nvSpPr>
      <dsp:spPr>
        <a:xfrm>
          <a:off x="0" y="545306"/>
          <a:ext cx="11606619" cy="756000"/>
        </a:xfrm>
        <a:prstGeom prst="rect">
          <a:avLst/>
        </a:prstGeom>
        <a:solidFill>
          <a:schemeClr val="lt1">
            <a:alpha val="9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1A1799-AA6A-4E1E-A08B-70CCE6F0AFED}">
      <dsp:nvSpPr>
        <dsp:cNvPr id="0" name=""/>
        <dsp:cNvSpPr/>
      </dsp:nvSpPr>
      <dsp:spPr>
        <a:xfrm>
          <a:off x="580330" y="76002"/>
          <a:ext cx="8124633" cy="885600"/>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a:lnSpc>
              <a:spcPct val="90000"/>
            </a:lnSpc>
            <a:spcBef>
              <a:spcPct val="0"/>
            </a:spcBef>
            <a:spcAft>
              <a:spcPct val="35000"/>
            </a:spcAft>
            <a:buNone/>
          </a:pPr>
          <a:r>
            <a:rPr lang="en-US" sz="2000" kern="1200"/>
            <a:t>Signing or Providing Oral Interpretation (e.g., lip reading) Test Directions for a Student Who is Deaf or Hard of Hearing</a:t>
          </a:r>
        </a:p>
      </dsp:txBody>
      <dsp:txXfrm>
        <a:off x="623561" y="119233"/>
        <a:ext cx="8038171" cy="799138"/>
      </dsp:txXfrm>
    </dsp:sp>
    <dsp:sp modelId="{94F63178-D5D8-4CE7-955A-82E4E089444A}">
      <dsp:nvSpPr>
        <dsp:cNvPr id="0" name=""/>
        <dsp:cNvSpPr/>
      </dsp:nvSpPr>
      <dsp:spPr>
        <a:xfrm>
          <a:off x="0" y="1879602"/>
          <a:ext cx="11606619" cy="1606500"/>
        </a:xfrm>
        <a:prstGeom prst="rect">
          <a:avLst/>
        </a:prstGeom>
        <a:solidFill>
          <a:schemeClr val="lt1">
            <a:alpha val="90000"/>
            <a:hueOff val="0"/>
            <a:satOff val="0"/>
            <a:lumOff val="0"/>
            <a:alphaOff val="0"/>
          </a:schemeClr>
        </a:solidFill>
        <a:ln w="12700" cap="flat" cmpd="sng" algn="ctr">
          <a:solidFill>
            <a:schemeClr val="accent1">
              <a:shade val="50000"/>
              <a:hueOff val="523174"/>
              <a:satOff val="-35779"/>
              <a:lumOff val="3368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0803" tIns="624840" rIns="900803" bIns="142240" numCol="1" spcCol="1270" anchor="t" anchorCtr="0">
          <a:noAutofit/>
        </a:bodyPr>
        <a:lstStyle/>
        <a:p>
          <a:pPr marL="228600" lvl="1" indent="-228600" algn="l" defTabSz="889000">
            <a:lnSpc>
              <a:spcPct val="90000"/>
            </a:lnSpc>
            <a:spcBef>
              <a:spcPct val="0"/>
            </a:spcBef>
            <a:spcAft>
              <a:spcPct val="15000"/>
            </a:spcAft>
            <a:buClr>
              <a:srgbClr val="F16038"/>
            </a:buClr>
            <a:buFont typeface="Wingdings" panose="05000000000000000000" pitchFamily="2" charset="2"/>
            <a:buChar char="§"/>
          </a:pPr>
          <a:r>
            <a:rPr lang="en-US" sz="2000" kern="1200">
              <a:solidFill>
                <a:srgbClr val="0D6CB9"/>
              </a:solidFill>
            </a:rPr>
            <a:t>number of students in small group is determined at local level based on the needs of each student and should mirror, as much as possible, the same small- group size in classroom testing situations </a:t>
          </a:r>
        </a:p>
      </dsp:txBody>
      <dsp:txXfrm>
        <a:off x="0" y="1879602"/>
        <a:ext cx="11606619" cy="1606500"/>
      </dsp:txXfrm>
    </dsp:sp>
    <dsp:sp modelId="{1B2B70C5-67BE-44F8-BC2C-E0A507658A84}">
      <dsp:nvSpPr>
        <dsp:cNvPr id="0" name=""/>
        <dsp:cNvSpPr/>
      </dsp:nvSpPr>
      <dsp:spPr>
        <a:xfrm>
          <a:off x="580330" y="1436802"/>
          <a:ext cx="8124633" cy="885600"/>
        </a:xfrm>
        <a:prstGeom prst="roundRect">
          <a:avLst/>
        </a:prstGeom>
        <a:solidFill>
          <a:schemeClr val="accent1">
            <a:shade val="50000"/>
            <a:hueOff val="523174"/>
            <a:satOff val="-35779"/>
            <a:lumOff val="336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Small Group</a:t>
          </a:r>
          <a:r>
            <a:rPr lang="en-US" sz="2000" kern="1200">
              <a:latin typeface="Calibri Light" panose="020F0302020204030204"/>
            </a:rPr>
            <a:t> </a:t>
          </a:r>
          <a:endParaRPr lang="en-US" sz="2000" kern="1200"/>
        </a:p>
      </dsp:txBody>
      <dsp:txXfrm>
        <a:off x="623561" y="1480033"/>
        <a:ext cx="8038171" cy="799138"/>
      </dsp:txXfrm>
    </dsp:sp>
    <dsp:sp modelId="{2E31C7E1-C9BB-4924-8685-FFD8C873BA9D}">
      <dsp:nvSpPr>
        <dsp:cNvPr id="0" name=""/>
        <dsp:cNvSpPr/>
      </dsp:nvSpPr>
      <dsp:spPr>
        <a:xfrm>
          <a:off x="0" y="4090903"/>
          <a:ext cx="11606619" cy="756000"/>
        </a:xfrm>
        <a:prstGeom prst="rect">
          <a:avLst/>
        </a:prstGeom>
        <a:solidFill>
          <a:schemeClr val="lt1">
            <a:alpha val="90000"/>
            <a:hueOff val="0"/>
            <a:satOff val="0"/>
            <a:lumOff val="0"/>
            <a:alphaOff val="0"/>
          </a:schemeClr>
        </a:solidFill>
        <a:ln w="12700" cap="flat" cmpd="sng" algn="ctr">
          <a:solidFill>
            <a:schemeClr val="accent1">
              <a:shade val="50000"/>
              <a:hueOff val="523174"/>
              <a:satOff val="-35779"/>
              <a:lumOff val="33687"/>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D249AD-9D44-4475-803A-801DE570D117}">
      <dsp:nvSpPr>
        <dsp:cNvPr id="0" name=""/>
        <dsp:cNvSpPr/>
      </dsp:nvSpPr>
      <dsp:spPr>
        <a:xfrm>
          <a:off x="580330" y="3648103"/>
          <a:ext cx="8124633" cy="885600"/>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Translating Test Directions Into the Native Language of an English Learner</a:t>
          </a:r>
          <a:r>
            <a:rPr lang="en-US" sz="2000" kern="1200">
              <a:latin typeface="Calibri Light" panose="020F0302020204030204"/>
            </a:rPr>
            <a:t> </a:t>
          </a:r>
          <a:endParaRPr lang="en-US" sz="2000" kern="1200"/>
        </a:p>
      </dsp:txBody>
      <dsp:txXfrm>
        <a:off x="623561" y="3691334"/>
        <a:ext cx="8038171" cy="79913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1037" y="0"/>
          <a:ext cx="11678344" cy="1555829"/>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Basic Transcribing </a:t>
          </a:r>
          <a:r>
            <a:rPr lang="en-US" sz="2000" kern="1200"/>
            <a:t>allows a test administrator to transfer student responses into TDS when a student is unable to accomplish this task independently. A student may receive this support if served by an ARD committee, Section 504 committee, </a:t>
          </a:r>
          <a:r>
            <a:rPr lang="en-US" sz="2000" b="1" kern="1200" err="1">
              <a:latin typeface="Calibri Light" panose="020F0302020204030204"/>
            </a:rPr>
            <a:t>RtI</a:t>
          </a:r>
          <a:r>
            <a:rPr lang="en-US" sz="2000" kern="1200"/>
            <a:t> committee, or student assistance team. </a:t>
          </a:r>
        </a:p>
        <a:p>
          <a:pPr marL="0" lvl="0" indent="0" algn="l" defTabSz="1066800">
            <a:lnSpc>
              <a:spcPct val="90000"/>
            </a:lnSpc>
            <a:spcBef>
              <a:spcPct val="0"/>
            </a:spcBef>
            <a:spcAft>
              <a:spcPct val="35000"/>
            </a:spcAft>
            <a:buNone/>
          </a:pPr>
          <a:endParaRPr lang="en-US" sz="2400" kern="1200"/>
        </a:p>
      </dsp:txBody>
      <dsp:txXfrm>
        <a:off x="46606" y="45569"/>
        <a:ext cx="11587206" cy="1464691"/>
      </dsp:txXfrm>
    </dsp:sp>
    <dsp:sp modelId="{958FB0CF-2EA0-4CFE-9283-F26E975A5CDB}">
      <dsp:nvSpPr>
        <dsp:cNvPr id="0" name=""/>
        <dsp:cNvSpPr/>
      </dsp:nvSpPr>
      <dsp:spPr>
        <a:xfrm>
          <a:off x="11917" y="1758978"/>
          <a:ext cx="5689356"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If the student is not receiving special education or Section 504 services, the decision should be based on consistent academic struggles in the specific area even after intensive instruction and remediation. </a:t>
          </a:r>
          <a:endParaRPr lang="en-US" sz="2000" kern="1200">
            <a:solidFill>
              <a:srgbClr val="0D6CB9"/>
            </a:solidFill>
          </a:endParaRPr>
        </a:p>
      </dsp:txBody>
      <dsp:txXfrm>
        <a:off x="57486" y="1804547"/>
        <a:ext cx="5598218" cy="1464691"/>
      </dsp:txXfrm>
    </dsp:sp>
    <dsp:sp modelId="{D860588E-36D3-4090-A8EF-DA2D6AF23FE0}">
      <dsp:nvSpPr>
        <dsp:cNvPr id="0" name=""/>
        <dsp:cNvSpPr/>
      </dsp:nvSpPr>
      <dsp:spPr>
        <a:xfrm>
          <a:off x="0" y="3509157"/>
          <a:ext cx="5629737"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Eligibility </a:t>
          </a:r>
          <a:r>
            <a:rPr lang="en-US" sz="2000" kern="1200">
              <a:solidFill>
                <a:srgbClr val="0D6CB9"/>
              </a:solidFill>
              <a:latin typeface="Calibri"/>
              <a:cs typeface="Calibri"/>
            </a:rPr>
            <a:t>includes</a:t>
          </a:r>
          <a:r>
            <a:rPr kumimoji="0" lang="en-US" sz="2000" b="0" i="0" u="none" strike="noStrike" kern="1200" cap="none" spc="0" normalizeH="0" baseline="0" noProof="0">
              <a:ln>
                <a:noFill/>
              </a:ln>
              <a:solidFill>
                <a:srgbClr val="0D6CB9"/>
              </a:solidFill>
              <a:effectLst/>
              <a:uLnTx/>
              <a:uFillTx/>
              <a:latin typeface="Calibri"/>
              <a:cs typeface="Calibri"/>
            </a:rPr>
            <a:t> routine (i.e., is familiar with the tool and its presentation) and effective (some evidence of previous success) use of the support in classroom instruction and testing.</a:t>
          </a:r>
        </a:p>
      </dsp:txBody>
      <dsp:txXfrm>
        <a:off x="45569" y="3554726"/>
        <a:ext cx="5538599" cy="1464691"/>
      </dsp:txXfrm>
    </dsp:sp>
    <dsp:sp modelId="{30FF46CB-5EE4-404F-B592-88A5EB36026F}">
      <dsp:nvSpPr>
        <dsp:cNvPr id="0" name=""/>
        <dsp:cNvSpPr/>
      </dsp:nvSpPr>
      <dsp:spPr>
        <a:xfrm>
          <a:off x="6163599" y="1758978"/>
          <a:ext cx="5503864"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dirty="0">
              <a:ln>
                <a:noFill/>
              </a:ln>
              <a:solidFill>
                <a:srgbClr val="0D6CB9"/>
              </a:solidFill>
              <a:effectLst/>
              <a:uLnTx/>
              <a:uFillTx/>
              <a:latin typeface="Calibri"/>
              <a:cs typeface="Calibri"/>
            </a:rPr>
            <a:t>If the student uses speech-to-text technology to indicate responses for the constructed response questions, please refer to our Technology Use Guidelines document.</a:t>
          </a:r>
          <a:endParaRPr lang="en-US" sz="2000" kern="1200" dirty="0">
            <a:solidFill>
              <a:srgbClr val="0D6CB9"/>
            </a:solidFill>
          </a:endParaRPr>
        </a:p>
      </dsp:txBody>
      <dsp:txXfrm>
        <a:off x="6209168" y="1804547"/>
        <a:ext cx="5412726" cy="1464691"/>
      </dsp:txXfrm>
    </dsp:sp>
    <dsp:sp modelId="{2595DE9B-56E6-4317-A120-D24001D4CDC3}">
      <dsp:nvSpPr>
        <dsp:cNvPr id="0" name=""/>
        <dsp:cNvSpPr/>
      </dsp:nvSpPr>
      <dsp:spPr>
        <a:xfrm>
          <a:off x="6163599" y="3515364"/>
          <a:ext cx="5503864"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Clr>
              <a:srgbClr val="FF8134"/>
            </a:buClr>
            <a:buSzTx/>
            <a:buFont typeface="Wingdings" panose="05000000000000000000" pitchFamily="2" charset="2"/>
            <a:buNone/>
          </a:pPr>
          <a:r>
            <a:rPr kumimoji="0" lang="en-US" sz="1800" b="0" i="0" u="none" strike="noStrike" kern="1200" cap="none" spc="0" normalizeH="0" baseline="0" noProof="0">
              <a:ln>
                <a:noFill/>
              </a:ln>
              <a:solidFill>
                <a:srgbClr val="0D6CB9"/>
              </a:solidFill>
              <a:effectLst/>
              <a:uLnTx/>
              <a:uFillTx/>
              <a:latin typeface="Calibri"/>
              <a:cs typeface="Calibri"/>
            </a:rPr>
            <a:t>The student may dictate or </a:t>
          </a:r>
          <a:r>
            <a:rPr lang="en-US" sz="1800" kern="1200">
              <a:solidFill>
                <a:srgbClr val="0D6CB9"/>
              </a:solidFill>
              <a:latin typeface="Calibri"/>
              <a:cs typeface="Calibri"/>
            </a:rPr>
            <a:t>sign</a:t>
          </a:r>
          <a:r>
            <a:rPr kumimoji="0" lang="en-US" sz="1800" b="0" i="0" u="none" strike="noStrike" kern="1200" cap="none" spc="0" normalizeH="0" baseline="0" noProof="0">
              <a:ln>
                <a:noFill/>
              </a:ln>
              <a:solidFill>
                <a:srgbClr val="0D6CB9"/>
              </a:solidFill>
              <a:effectLst/>
              <a:uLnTx/>
              <a:uFillTx/>
              <a:latin typeface="Calibri"/>
              <a:cs typeface="Calibri"/>
            </a:rPr>
            <a:t> information to be recorded in the margins of the test booklet or in the notes tool for online tests</a:t>
          </a:r>
          <a:r>
            <a:rPr lang="en-US" sz="1800" kern="1200">
              <a:solidFill>
                <a:srgbClr val="0D6CB9"/>
              </a:solidFill>
              <a:latin typeface="Calibri"/>
              <a:cs typeface="Calibri"/>
            </a:rPr>
            <a:t>.</a:t>
          </a:r>
          <a:r>
            <a:rPr kumimoji="0" lang="en-US" sz="1800" b="0" i="0" u="none" strike="noStrike" kern="1200" cap="none" spc="0" normalizeH="0" baseline="0" noProof="0">
              <a:ln>
                <a:noFill/>
              </a:ln>
              <a:solidFill>
                <a:srgbClr val="0D6CB9"/>
              </a:solidFill>
              <a:effectLst/>
              <a:uLnTx/>
              <a:uFillTx/>
              <a:latin typeface="Calibri"/>
              <a:cs typeface="Calibri"/>
            </a:rPr>
            <a:t> (</a:t>
          </a:r>
          <a:r>
            <a:rPr lang="en-US" sz="1800" kern="1200">
              <a:solidFill>
                <a:srgbClr val="0D6CB9"/>
              </a:solidFill>
              <a:latin typeface="Calibri"/>
              <a:cs typeface="Calibri"/>
            </a:rPr>
            <a:t>Does</a:t>
          </a:r>
          <a:r>
            <a:rPr kumimoji="0" lang="en-US" sz="1800" b="0" i="0" u="none" strike="noStrike" kern="1200" cap="none" spc="0" normalizeH="0" baseline="0" noProof="0">
              <a:ln>
                <a:noFill/>
              </a:ln>
              <a:solidFill>
                <a:srgbClr val="0D6CB9"/>
              </a:solidFill>
              <a:effectLst/>
              <a:uLnTx/>
              <a:uFillTx/>
              <a:latin typeface="Calibri"/>
              <a:cs typeface="Calibri"/>
            </a:rPr>
            <a:t> NOT apply to math calculations or responses to the written composition</a:t>
          </a:r>
          <a:r>
            <a:rPr lang="en-US" sz="1800" kern="1200">
              <a:solidFill>
                <a:srgbClr val="0D6CB9"/>
              </a:solidFill>
              <a:latin typeface="Calibri"/>
              <a:cs typeface="Calibri"/>
            </a:rPr>
            <a:t>.)</a:t>
          </a:r>
          <a:endParaRPr lang="en-US" sz="1800" kern="1200">
            <a:solidFill>
              <a:srgbClr val="0D6CB9"/>
            </a:solidFill>
          </a:endParaRPr>
        </a:p>
      </dsp:txBody>
      <dsp:txXfrm>
        <a:off x="6209168" y="3560933"/>
        <a:ext cx="5412726" cy="146469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1055631"/>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Basic Transcribing </a:t>
          </a:r>
          <a:r>
            <a:rPr lang="en-US" sz="2000" b="0" kern="1200"/>
            <a:t>(continued):</a:t>
          </a:r>
          <a:endParaRPr lang="en-US" sz="2400" b="0" kern="1200"/>
        </a:p>
      </dsp:txBody>
      <dsp:txXfrm>
        <a:off x="39540" y="30918"/>
        <a:ext cx="11608923" cy="993795"/>
      </dsp:txXfrm>
    </dsp:sp>
    <dsp:sp modelId="{958FB0CF-2EA0-4CFE-9283-F26E975A5CDB}">
      <dsp:nvSpPr>
        <dsp:cNvPr id="0" name=""/>
        <dsp:cNvSpPr/>
      </dsp:nvSpPr>
      <dsp:spPr>
        <a:xfrm>
          <a:off x="15702" y="1306985"/>
          <a:ext cx="5589239" cy="3764545"/>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just" defTabSz="889000">
            <a:lnSpc>
              <a:spcPct val="90000"/>
            </a:lnSpc>
            <a:spcBef>
              <a:spcPct val="0"/>
            </a:spcBef>
            <a:spcAft>
              <a:spcPct val="35000"/>
            </a:spcAft>
            <a:buClr>
              <a:srgbClr val="FF8134"/>
            </a:buClr>
            <a:buSzTx/>
            <a:buFont typeface="Wingdings" charset="2"/>
            <a:buNone/>
          </a:pPr>
          <a:r>
            <a:rPr kumimoji="0" lang="en-US" sz="2000" b="0" i="0" u="none" strike="noStrike" kern="1200" cap="none" spc="0" normalizeH="0" baseline="0" noProof="0">
              <a:ln>
                <a:noFill/>
              </a:ln>
              <a:solidFill>
                <a:srgbClr val="0D6CB9"/>
              </a:solidFill>
              <a:effectLst/>
              <a:uLnTx/>
              <a:uFillTx/>
              <a:latin typeface="Calibri"/>
              <a:ea typeface="+mn-ea"/>
              <a:cs typeface="Calibri"/>
            </a:rPr>
            <a:t>The student must be given the full time allotted to complete the entire test. It is allowable for the student to review the transcription and make any edits within the time constraints of the assessment. This means that the student can change his or her response </a:t>
          </a:r>
          <a:r>
            <a:rPr kumimoji="0" lang="en-US" sz="2000" b="1" i="0" u="none" strike="noStrike" kern="1200" cap="none" spc="0" normalizeH="0" baseline="0" noProof="0">
              <a:ln>
                <a:noFill/>
              </a:ln>
              <a:solidFill>
                <a:srgbClr val="0D6CB9"/>
              </a:solidFill>
              <a:effectLst/>
              <a:uLnTx/>
              <a:uFillTx/>
              <a:latin typeface="Calibri"/>
              <a:ea typeface="+mn-ea"/>
              <a:cs typeface="Calibri"/>
            </a:rPr>
            <a:t>ONLY</a:t>
          </a:r>
          <a:r>
            <a:rPr kumimoji="0" lang="en-US" sz="2000" b="0" i="0" u="none" strike="noStrike" kern="1200" cap="none" spc="0" normalizeH="0" baseline="0" noProof="0">
              <a:ln>
                <a:noFill/>
              </a:ln>
              <a:solidFill>
                <a:srgbClr val="0D6CB9"/>
              </a:solidFill>
              <a:effectLst/>
              <a:uLnTx/>
              <a:uFillTx/>
              <a:latin typeface="Calibri"/>
              <a:ea typeface="+mn-ea"/>
              <a:cs typeface="Calibri"/>
            </a:rPr>
            <a:t> within the seven hour time limit of the test.</a:t>
          </a:r>
          <a:endParaRPr lang="en-US" sz="2000" kern="1200">
            <a:latin typeface="Calibri"/>
            <a:ea typeface="+mn-ea"/>
            <a:cs typeface="Calibri"/>
          </a:endParaRPr>
        </a:p>
      </dsp:txBody>
      <dsp:txXfrm>
        <a:off x="125962" y="1417245"/>
        <a:ext cx="5368719" cy="3544025"/>
      </dsp:txXfrm>
    </dsp:sp>
    <dsp:sp modelId="{C46213F9-9FC7-4E93-A877-C5E1AE9B8274}">
      <dsp:nvSpPr>
        <dsp:cNvPr id="0" name=""/>
        <dsp:cNvSpPr/>
      </dsp:nvSpPr>
      <dsp:spPr>
        <a:xfrm>
          <a:off x="6074439" y="1306985"/>
          <a:ext cx="5589239" cy="193239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The student may dictate or </a:t>
          </a:r>
          <a:r>
            <a:rPr lang="en-US" sz="2000" kern="1200">
              <a:solidFill>
                <a:srgbClr val="0D6CB9"/>
              </a:solidFill>
              <a:latin typeface="Calibri"/>
              <a:cs typeface="Calibri"/>
            </a:rPr>
            <a:t>sign</a:t>
          </a:r>
          <a:r>
            <a:rPr kumimoji="0" lang="en-US" sz="2000" b="0" i="0" u="none" strike="noStrike" kern="1200" cap="none" spc="0" normalizeH="0" baseline="0" noProof="0">
              <a:ln>
                <a:noFill/>
              </a:ln>
              <a:solidFill>
                <a:srgbClr val="0D6CB9"/>
              </a:solidFill>
              <a:effectLst/>
              <a:uLnTx/>
              <a:uFillTx/>
              <a:latin typeface="Calibri"/>
              <a:cs typeface="Calibri"/>
            </a:rPr>
            <a:t> information to be recorded in the margins of the test booklet or in the notes tool for online tests</a:t>
          </a:r>
          <a:r>
            <a:rPr lang="en-US" sz="2000" kern="1200">
              <a:solidFill>
                <a:srgbClr val="0D6CB9"/>
              </a:solidFill>
              <a:latin typeface="Calibri"/>
              <a:cs typeface="Calibri"/>
            </a:rPr>
            <a:t>.</a:t>
          </a:r>
          <a:r>
            <a:rPr kumimoji="0" lang="en-US" sz="2000" b="0" i="0" u="none" strike="noStrike" kern="1200" cap="none" spc="0" normalizeH="0" baseline="0" noProof="0">
              <a:ln>
                <a:noFill/>
              </a:ln>
              <a:solidFill>
                <a:srgbClr val="0D6CB9"/>
              </a:solidFill>
              <a:effectLst/>
              <a:uLnTx/>
              <a:uFillTx/>
              <a:latin typeface="Calibri"/>
              <a:cs typeface="Calibri"/>
            </a:rPr>
            <a:t> (</a:t>
          </a:r>
          <a:r>
            <a:rPr lang="en-US" sz="2000" kern="1200">
              <a:solidFill>
                <a:srgbClr val="0D6CB9"/>
              </a:solidFill>
              <a:latin typeface="Calibri"/>
              <a:cs typeface="Calibri"/>
            </a:rPr>
            <a:t>Does</a:t>
          </a:r>
          <a:r>
            <a:rPr kumimoji="0" lang="en-US" sz="2000" b="0" i="0" u="none" strike="noStrike" kern="1200" cap="none" spc="0" normalizeH="0" baseline="0" noProof="0">
              <a:ln>
                <a:noFill/>
              </a:ln>
              <a:solidFill>
                <a:srgbClr val="0D6CB9"/>
              </a:solidFill>
              <a:effectLst/>
              <a:uLnTx/>
              <a:uFillTx/>
              <a:latin typeface="Calibri"/>
              <a:cs typeface="Calibri"/>
            </a:rPr>
            <a:t> NOT apply to math calculations or responses to the written composition</a:t>
          </a:r>
          <a:r>
            <a:rPr lang="en-US" sz="2000" kern="1200">
              <a:solidFill>
                <a:srgbClr val="0D6CB9"/>
              </a:solidFill>
              <a:latin typeface="Calibri"/>
              <a:cs typeface="Calibri"/>
            </a:rPr>
            <a:t>.)</a:t>
          </a:r>
          <a:endParaRPr lang="en-US" sz="2000" kern="1200">
            <a:solidFill>
              <a:srgbClr val="0D6CB9"/>
            </a:solidFill>
          </a:endParaRPr>
        </a:p>
      </dsp:txBody>
      <dsp:txXfrm>
        <a:off x="6131037" y="1363583"/>
        <a:ext cx="5476043" cy="181920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1744374"/>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t>Braille/Refreshable Braille </a:t>
          </a:r>
          <a:r>
            <a:rPr lang="en-US" sz="2000" b="0" kern="1200"/>
            <a:t>provides </a:t>
          </a:r>
          <a:r>
            <a:rPr lang="en-US" sz="2000" b="0" kern="1200" err="1"/>
            <a:t>brailled</a:t>
          </a:r>
          <a:r>
            <a:rPr lang="en-US" sz="2000" b="0" kern="1200"/>
            <a:t> test materials or screen reader support for refreshable braille (STAAR only) displays to a student with a Visual Impairment (VI) who is unable to access printed test materials.</a:t>
          </a:r>
          <a:r>
            <a:rPr lang="en-US" sz="2000" b="0" kern="1200">
              <a:latin typeface="Calibri Light" panose="020F0302020204030204"/>
            </a:rPr>
            <a:t> </a:t>
          </a:r>
          <a:endParaRPr lang="en-US" sz="2000" b="0" kern="1200"/>
        </a:p>
        <a:p>
          <a:pPr marL="0" lvl="0" indent="0" algn="l" defTabSz="1066800">
            <a:lnSpc>
              <a:spcPct val="90000"/>
            </a:lnSpc>
            <a:spcBef>
              <a:spcPct val="0"/>
            </a:spcBef>
            <a:spcAft>
              <a:spcPct val="35000"/>
            </a:spcAft>
            <a:buNone/>
          </a:pPr>
          <a:r>
            <a:rPr lang="en-US" sz="2000" b="0" kern="1200"/>
            <a:t>A student may receive this support if it is routinely and effectively used in classroom instruction and testing, </a:t>
          </a:r>
          <a:r>
            <a:rPr lang="en-US" sz="2000" b="1" kern="1200"/>
            <a:t>and</a:t>
          </a:r>
          <a:r>
            <a:rPr lang="en-US" sz="2000" b="0" kern="1200"/>
            <a:t> if the support is determined appropriate by the student’s ARD committee, Section 504 committee, </a:t>
          </a:r>
          <a:r>
            <a:rPr lang="en-US" sz="2000" b="1" kern="1200" err="1">
              <a:latin typeface="Calibri Light" panose="020F0302020204030204"/>
            </a:rPr>
            <a:t>RtI</a:t>
          </a:r>
          <a:r>
            <a:rPr lang="en-US" sz="2000" b="0" kern="1200"/>
            <a:t> committee, or student assistance team.</a:t>
          </a:r>
        </a:p>
        <a:p>
          <a:pPr marL="0" lvl="0" indent="0" algn="l" defTabSz="1066800">
            <a:lnSpc>
              <a:spcPct val="90000"/>
            </a:lnSpc>
            <a:spcBef>
              <a:spcPct val="0"/>
            </a:spcBef>
            <a:spcAft>
              <a:spcPct val="35000"/>
            </a:spcAft>
            <a:buNone/>
          </a:pPr>
          <a:endParaRPr lang="en-US" sz="2400" b="0" kern="1200"/>
        </a:p>
        <a:p>
          <a:pPr marL="0" lvl="0" indent="0" defTabSz="1066800">
            <a:lnSpc>
              <a:spcPct val="90000"/>
            </a:lnSpc>
            <a:spcBef>
              <a:spcPct val="0"/>
            </a:spcBef>
            <a:spcAft>
              <a:spcPct val="35000"/>
            </a:spcAft>
            <a:buNone/>
          </a:pPr>
          <a:r>
            <a:rPr lang="en-US" sz="2400" b="0" kern="1200"/>
            <a:t>served by an ARD committee, Section 504 committee, RTI committee, or student assistance team</a:t>
          </a:r>
        </a:p>
      </dsp:txBody>
      <dsp:txXfrm>
        <a:off x="59713" y="51091"/>
        <a:ext cx="11568577" cy="1642192"/>
      </dsp:txXfrm>
    </dsp:sp>
    <dsp:sp modelId="{958FB0CF-2EA0-4CFE-9283-F26E975A5CDB}">
      <dsp:nvSpPr>
        <dsp:cNvPr id="0" name=""/>
        <dsp:cNvSpPr/>
      </dsp:nvSpPr>
      <dsp:spPr>
        <a:xfrm>
          <a:off x="101642" y="1923991"/>
          <a:ext cx="5600172" cy="1474073"/>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a:buNone/>
          </a:pPr>
          <a:r>
            <a:rPr kumimoji="0" lang="en-US" sz="2000" b="0" i="0" u="none" strike="noStrike" kern="1200" cap="none" spc="0" normalizeH="0" baseline="0" noProof="0">
              <a:ln>
                <a:noFill/>
              </a:ln>
              <a:solidFill>
                <a:srgbClr val="0D6CB9"/>
              </a:solidFill>
              <a:effectLst/>
              <a:uLnTx/>
              <a:uFillTx/>
              <a:latin typeface="Calibri"/>
              <a:cs typeface="Calibri"/>
            </a:rPr>
            <a:t>Online screen reader support for refreshable braille displays will be available in reading/language arts and social studies assessments.</a:t>
          </a:r>
        </a:p>
      </dsp:txBody>
      <dsp:txXfrm>
        <a:off x="144816" y="1967165"/>
        <a:ext cx="5513824" cy="1387725"/>
      </dsp:txXfrm>
    </dsp:sp>
    <dsp:sp modelId="{D860588E-36D3-4090-A8EF-DA2D6AF23FE0}">
      <dsp:nvSpPr>
        <dsp:cNvPr id="0" name=""/>
        <dsp:cNvSpPr/>
      </dsp:nvSpPr>
      <dsp:spPr>
        <a:xfrm>
          <a:off x="4311" y="3599713"/>
          <a:ext cx="5600172" cy="1474073"/>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Clr>
              <a:srgbClr val="FF8134"/>
            </a:buClr>
            <a:buSzTx/>
            <a:buFont typeface="Wingdings"/>
            <a:buNone/>
          </a:pPr>
          <a:r>
            <a:rPr kumimoji="0" lang="en-US" sz="1900" b="0" i="0" u="none" strike="noStrike" kern="1200" cap="none" spc="0" normalizeH="0" baseline="0" noProof="0">
              <a:ln>
                <a:noFill/>
              </a:ln>
              <a:solidFill>
                <a:srgbClr val="0D6CB9"/>
              </a:solidFill>
              <a:effectLst/>
              <a:uLnTx/>
              <a:uFillTx/>
              <a:latin typeface="Calibri"/>
              <a:cs typeface="Calibri"/>
            </a:rPr>
            <a:t>For braille administrations, there is no need to submit an Accommodation Request Form to request "Extra Day". (Included in "General Instructions for Administering Braille State Assessments".)</a:t>
          </a:r>
          <a:endParaRPr lang="en-US" sz="1900" kern="1200">
            <a:solidFill>
              <a:srgbClr val="0D6CB9"/>
            </a:solidFill>
          </a:endParaRPr>
        </a:p>
      </dsp:txBody>
      <dsp:txXfrm>
        <a:off x="47485" y="3642887"/>
        <a:ext cx="5513824" cy="1387725"/>
      </dsp:txXfrm>
    </dsp:sp>
    <dsp:sp modelId="{30FF46CB-5EE4-404F-B592-88A5EB36026F}">
      <dsp:nvSpPr>
        <dsp:cNvPr id="0" name=""/>
        <dsp:cNvSpPr/>
      </dsp:nvSpPr>
      <dsp:spPr>
        <a:xfrm>
          <a:off x="6074898" y="1935007"/>
          <a:ext cx="5600172" cy="1474073"/>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a:buNone/>
          </a:pPr>
          <a:r>
            <a:rPr kumimoji="0" lang="en-US" sz="2000" b="0" i="0" u="none" strike="noStrike" kern="1200" cap="none" spc="0" normalizeH="0" baseline="0" noProof="0">
              <a:ln>
                <a:noFill/>
              </a:ln>
              <a:solidFill>
                <a:srgbClr val="0D6CB9"/>
              </a:solidFill>
              <a:effectLst/>
              <a:uLnTx/>
              <a:uFillTx/>
              <a:latin typeface="Calibri"/>
              <a:cs typeface="Calibri"/>
            </a:rPr>
            <a:t>The state will provide both contracted and uncontracted braille test materials in UEB ONLY.</a:t>
          </a:r>
          <a:endParaRPr lang="en-US" sz="2000" kern="1200">
            <a:solidFill>
              <a:srgbClr val="0D6CB9"/>
            </a:solidFill>
          </a:endParaRPr>
        </a:p>
      </dsp:txBody>
      <dsp:txXfrm>
        <a:off x="6118072" y="1978181"/>
        <a:ext cx="5513824" cy="1387725"/>
      </dsp:txXfrm>
    </dsp:sp>
    <dsp:sp modelId="{2595DE9B-56E6-4317-A120-D24001D4CDC3}">
      <dsp:nvSpPr>
        <dsp:cNvPr id="0" name=""/>
        <dsp:cNvSpPr/>
      </dsp:nvSpPr>
      <dsp:spPr>
        <a:xfrm>
          <a:off x="6079209" y="3599713"/>
          <a:ext cx="5600172" cy="1474073"/>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Clr>
              <a:srgbClr val="FF8134"/>
            </a:buClr>
            <a:buSzTx/>
            <a:buFont typeface="Wingdings"/>
            <a:buNone/>
          </a:pPr>
          <a:r>
            <a:rPr kumimoji="0" lang="en-US" sz="2000" b="0" i="0" u="none" strike="noStrike" kern="1200" cap="none" spc="0" normalizeH="0" baseline="0" noProof="0">
              <a:ln>
                <a:noFill/>
              </a:ln>
              <a:solidFill>
                <a:srgbClr val="0D6CB9"/>
              </a:solidFill>
              <a:effectLst/>
              <a:uLnTx/>
              <a:uFillTx/>
              <a:latin typeface="Calibri"/>
              <a:cs typeface="Calibri"/>
            </a:rPr>
            <a:t>Accommodations specific to braille test takers will be provided in the “STAAR with Embedded Supports Paper Test Administration Information” accommodation tables and identified for the test administrator as “Braille Instructions ONLY.”</a:t>
          </a:r>
          <a:endParaRPr lang="en-US" sz="2000" kern="1200">
            <a:solidFill>
              <a:srgbClr val="0D6CB9"/>
            </a:solidFill>
          </a:endParaRPr>
        </a:p>
      </dsp:txBody>
      <dsp:txXfrm>
        <a:off x="6122383" y="3642887"/>
        <a:ext cx="5513824" cy="1387725"/>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10926" y="0"/>
          <a:ext cx="11668455" cy="867669"/>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Braille/Refreshable Braille </a:t>
          </a:r>
          <a:r>
            <a:rPr lang="en-US" sz="2400" b="0" kern="1200"/>
            <a:t>(continued):</a:t>
          </a:r>
        </a:p>
      </dsp:txBody>
      <dsp:txXfrm>
        <a:off x="36339" y="25413"/>
        <a:ext cx="11617629" cy="816843"/>
      </dsp:txXfrm>
    </dsp:sp>
    <dsp:sp modelId="{958FB0CF-2EA0-4CFE-9283-F26E975A5CDB}">
      <dsp:nvSpPr>
        <dsp:cNvPr id="0" name=""/>
        <dsp:cNvSpPr/>
      </dsp:nvSpPr>
      <dsp:spPr>
        <a:xfrm>
          <a:off x="5463" y="1110174"/>
          <a:ext cx="11668455" cy="1860553"/>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Clr>
              <a:srgbClr val="1682C5"/>
            </a:buClr>
            <a:buSzPct val="95000"/>
            <a:buFont typeface="Arial"/>
            <a:buNone/>
          </a:pPr>
          <a:r>
            <a:rPr kumimoji="0" lang="en-US" sz="2400" b="0" i="0" u="none" strike="noStrike" kern="1200" cap="none" spc="0" normalizeH="0" baseline="0" noProof="0">
              <a:ln>
                <a:noFill/>
              </a:ln>
              <a:solidFill>
                <a:srgbClr val="0D6CB9"/>
              </a:solidFill>
              <a:effectLst/>
              <a:uLnTx/>
              <a:uFillTx/>
              <a:latin typeface="Calibri"/>
              <a:cs typeface="Calibri"/>
            </a:rPr>
            <a:t>If the qualifying student is an EB student with a disability, the decision is made by the ARD committee </a:t>
          </a:r>
          <a:r>
            <a:rPr kumimoji="0" lang="en-US" sz="2400" b="1" i="0" u="none" strike="noStrike" kern="1200" cap="none" spc="0" normalizeH="0" baseline="0" noProof="0">
              <a:ln>
                <a:noFill/>
              </a:ln>
              <a:solidFill>
                <a:srgbClr val="0D6CB9"/>
              </a:solidFill>
              <a:effectLst/>
              <a:uLnTx/>
              <a:uFillTx/>
              <a:latin typeface="Calibri"/>
              <a:cs typeface="Calibri"/>
            </a:rPr>
            <a:t>in conjunction </a:t>
          </a:r>
          <a:r>
            <a:rPr kumimoji="0" lang="en-US" sz="2400" b="0" i="0" u="none" strike="noStrike" kern="1200" cap="none" spc="0" normalizeH="0" baseline="0" noProof="0">
              <a:ln>
                <a:noFill/>
              </a:ln>
              <a:solidFill>
                <a:srgbClr val="0D6CB9"/>
              </a:solidFill>
              <a:effectLst/>
              <a:uLnTx/>
              <a:uFillTx/>
              <a:latin typeface="Calibri"/>
              <a:cs typeface="Calibri"/>
            </a:rPr>
            <a:t>with the student’s LPAC.</a:t>
          </a:r>
          <a:endParaRPr lang="en-US" sz="2400" kern="1200">
            <a:solidFill>
              <a:srgbClr val="0D6CB9"/>
            </a:solidFill>
          </a:endParaRPr>
        </a:p>
      </dsp:txBody>
      <dsp:txXfrm>
        <a:off x="59957" y="1164668"/>
        <a:ext cx="11559467" cy="1751565"/>
      </dsp:txXfrm>
    </dsp:sp>
    <dsp:sp modelId="{D860588E-36D3-4090-A8EF-DA2D6AF23FE0}">
      <dsp:nvSpPr>
        <dsp:cNvPr id="0" name=""/>
        <dsp:cNvSpPr/>
      </dsp:nvSpPr>
      <dsp:spPr>
        <a:xfrm>
          <a:off x="5463" y="3210566"/>
          <a:ext cx="5714228" cy="1860553"/>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Clr>
              <a:srgbClr val="FF8134"/>
            </a:buClr>
            <a:buSzTx/>
            <a:buFont typeface="Wingdings"/>
            <a:buNone/>
          </a:pPr>
          <a:r>
            <a:rPr kumimoji="0" lang="en-US" sz="2400" b="0" i="0" u="none" strike="noStrike" kern="1200" cap="none" spc="0" normalizeH="0" baseline="0" noProof="0" dirty="0">
              <a:ln>
                <a:noFill/>
              </a:ln>
              <a:solidFill>
                <a:srgbClr val="0D6CB9"/>
              </a:solidFill>
              <a:effectLst/>
              <a:uLnTx/>
              <a:uFillTx/>
              <a:latin typeface="Calibri"/>
              <a:cs typeface="Calibri"/>
            </a:rPr>
            <a:t>Districts can order contracted or uncontracted embedded supports versions of the braille test in TIDE. </a:t>
          </a:r>
          <a:endParaRPr lang="en-US" sz="2400" b="0" kern="1200" dirty="0">
            <a:solidFill>
              <a:srgbClr val="0D6CB9"/>
            </a:solidFill>
          </a:endParaRPr>
        </a:p>
      </dsp:txBody>
      <dsp:txXfrm>
        <a:off x="59957" y="3265060"/>
        <a:ext cx="5605240" cy="1751565"/>
      </dsp:txXfrm>
    </dsp:sp>
    <dsp:sp modelId="{8EE9E4A0-F8AD-40ED-B1B1-64F295CDD9AA}">
      <dsp:nvSpPr>
        <dsp:cNvPr id="0" name=""/>
        <dsp:cNvSpPr/>
      </dsp:nvSpPr>
      <dsp:spPr>
        <a:xfrm>
          <a:off x="5959689" y="3210566"/>
          <a:ext cx="5714228" cy="1860553"/>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100000"/>
            </a:lnSpc>
            <a:spcBef>
              <a:spcPct val="0"/>
            </a:spcBef>
            <a:spcAft>
              <a:spcPct val="35000"/>
            </a:spcAft>
            <a:buClr>
              <a:srgbClr val="FF8134"/>
            </a:buClr>
            <a:buSzTx/>
            <a:buFont typeface="Wingdings"/>
            <a:buNone/>
          </a:pPr>
          <a:r>
            <a:rPr lang="en-US" sz="2400" b="0" kern="1200" dirty="0">
              <a:solidFill>
                <a:srgbClr val="0D6CB9"/>
              </a:solidFill>
            </a:rPr>
            <a:t>If a student is testing online with refreshable braille plus</a:t>
          </a:r>
        </a:p>
        <a:p>
          <a:pPr marL="0" lvl="0" indent="0" algn="ctr" defTabSz="1066800">
            <a:lnSpc>
              <a:spcPct val="100000"/>
            </a:lnSpc>
            <a:spcBef>
              <a:spcPct val="0"/>
            </a:spcBef>
            <a:spcAft>
              <a:spcPct val="35000"/>
            </a:spcAft>
            <a:buClr>
              <a:srgbClr val="FF8134"/>
            </a:buClr>
            <a:buSzTx/>
            <a:buFont typeface="Wingdings"/>
            <a:buNone/>
          </a:pPr>
          <a:r>
            <a:rPr lang="en-US" sz="2400" b="0" kern="1200" dirty="0">
              <a:solidFill>
                <a:srgbClr val="0D6CB9"/>
              </a:solidFill>
            </a:rPr>
            <a:t>embedded supports, a paper copy </a:t>
          </a:r>
        </a:p>
        <a:p>
          <a:pPr marL="0" lvl="0" indent="0" algn="ctr" defTabSz="1066800">
            <a:lnSpc>
              <a:spcPct val="100000"/>
            </a:lnSpc>
            <a:spcBef>
              <a:spcPct val="0"/>
            </a:spcBef>
            <a:spcAft>
              <a:spcPct val="35000"/>
            </a:spcAft>
            <a:buClr>
              <a:srgbClr val="FF8134"/>
            </a:buClr>
            <a:buSzTx/>
            <a:buFont typeface="Wingdings"/>
            <a:buNone/>
          </a:pPr>
          <a:r>
            <a:rPr lang="en-US" sz="2400" b="0" kern="1200" dirty="0">
              <a:solidFill>
                <a:srgbClr val="0D6CB9"/>
              </a:solidFill>
            </a:rPr>
            <a:t>must be ordered as well. </a:t>
          </a:r>
        </a:p>
      </dsp:txBody>
      <dsp:txXfrm>
        <a:off x="6014183" y="3265060"/>
        <a:ext cx="5605240" cy="175156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1555829"/>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Calculation</a:t>
          </a:r>
          <a:r>
            <a:rPr lang="en-US" sz="2400" b="1" kern="1200" baseline="0"/>
            <a:t> Aids </a:t>
          </a:r>
          <a:r>
            <a:rPr lang="en-US" sz="2400" b="0" kern="1200" baseline="0"/>
            <a:t>provide an alternate method of computation for a student who is unable to effectively use paper-and-pencil methods. A student may receive this support if the student is served by an ARD or Section 504 committee.</a:t>
          </a:r>
        </a:p>
        <a:p>
          <a:pPr marL="0" lvl="0" indent="0" defTabSz="1066800">
            <a:lnSpc>
              <a:spcPct val="90000"/>
            </a:lnSpc>
            <a:spcBef>
              <a:spcPct val="0"/>
            </a:spcBef>
            <a:spcAft>
              <a:spcPct val="35000"/>
            </a:spcAft>
            <a:buNone/>
          </a:pPr>
          <a:endParaRPr lang="en-US" sz="2400" b="0" kern="1200" baseline="0"/>
        </a:p>
        <a:p>
          <a:pPr marL="0" lvl="0" indent="0" algn="l" defTabSz="1066800">
            <a:lnSpc>
              <a:spcPct val="90000"/>
            </a:lnSpc>
            <a:spcBef>
              <a:spcPct val="0"/>
            </a:spcBef>
            <a:spcAft>
              <a:spcPct val="35000"/>
            </a:spcAft>
            <a:buNone/>
          </a:pPr>
          <a:endParaRPr lang="en-US" sz="2400" b="0" kern="1200"/>
        </a:p>
      </dsp:txBody>
      <dsp:txXfrm>
        <a:off x="54191" y="45569"/>
        <a:ext cx="11579621" cy="1464691"/>
      </dsp:txXfrm>
    </dsp:sp>
    <dsp:sp modelId="{958FB0CF-2EA0-4CFE-9283-F26E975A5CDB}">
      <dsp:nvSpPr>
        <dsp:cNvPr id="0" name=""/>
        <dsp:cNvSpPr/>
      </dsp:nvSpPr>
      <dsp:spPr>
        <a:xfrm>
          <a:off x="4311" y="1758978"/>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If a student is an EB with a disability,</a:t>
          </a:r>
        </a:p>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 the decision is made by the ARD committee</a:t>
          </a:r>
        </a:p>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 </a:t>
          </a:r>
          <a:r>
            <a:rPr kumimoji="0" lang="en-US" sz="2000" b="1" i="0" u="none" strike="noStrike" kern="1200" cap="none" spc="0" normalizeH="0" baseline="0" noProof="0">
              <a:ln>
                <a:noFill/>
              </a:ln>
              <a:solidFill>
                <a:srgbClr val="0D6CB9"/>
              </a:solidFill>
              <a:effectLst/>
              <a:uLnTx/>
              <a:uFillTx/>
              <a:latin typeface="Calibri"/>
              <a:cs typeface="Calibri"/>
            </a:rPr>
            <a:t>in conjunction </a:t>
          </a:r>
          <a:r>
            <a:rPr kumimoji="0" lang="en-US" sz="2000" b="0" i="0" u="none" strike="noStrike" kern="1200" cap="none" spc="0" normalizeH="0" baseline="0" noProof="0">
              <a:ln>
                <a:noFill/>
              </a:ln>
              <a:solidFill>
                <a:srgbClr val="0D6CB9"/>
              </a:solidFill>
              <a:effectLst/>
              <a:uLnTx/>
              <a:uFillTx/>
              <a:latin typeface="Calibri"/>
              <a:cs typeface="Calibri"/>
            </a:rPr>
            <a:t>with the student’s LPAC.</a:t>
          </a:r>
          <a:endParaRPr lang="en-US" sz="2000" kern="1200">
            <a:solidFill>
              <a:srgbClr val="0D6CB9"/>
            </a:solidFill>
          </a:endParaRPr>
        </a:p>
      </dsp:txBody>
      <dsp:txXfrm>
        <a:off x="49880" y="1804547"/>
        <a:ext cx="5509034" cy="1464691"/>
      </dsp:txXfrm>
    </dsp:sp>
    <dsp:sp modelId="{D860588E-36D3-4090-A8EF-DA2D6AF23FE0}">
      <dsp:nvSpPr>
        <dsp:cNvPr id="0" name=""/>
        <dsp:cNvSpPr/>
      </dsp:nvSpPr>
      <dsp:spPr>
        <a:xfrm>
          <a:off x="4311" y="3515364"/>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a:buNone/>
          </a:pPr>
          <a:r>
            <a:rPr kumimoji="0" lang="en-US" sz="2000" b="0" i="0" u="none" strike="noStrike" kern="1200" cap="none" spc="0" normalizeH="0" baseline="0" noProof="0">
              <a:ln>
                <a:noFill/>
              </a:ln>
              <a:solidFill>
                <a:srgbClr val="0D6CB9"/>
              </a:solidFill>
              <a:effectLst/>
              <a:uLnTx/>
              <a:uFillTx/>
              <a:latin typeface="Calibri"/>
              <a:cs typeface="Calibri"/>
            </a:rPr>
            <a:t>For questions about the functions allowed available on a “basic” calculator, refer to the calculator tool</a:t>
          </a:r>
        </a:p>
        <a:p>
          <a:pPr marL="0" lvl="0" indent="0" algn="ctr" defTabSz="889000">
            <a:lnSpc>
              <a:spcPct val="90000"/>
            </a:lnSpc>
            <a:spcBef>
              <a:spcPct val="0"/>
            </a:spcBef>
            <a:spcAft>
              <a:spcPct val="35000"/>
            </a:spcAft>
            <a:buClr>
              <a:srgbClr val="FF8134"/>
            </a:buClr>
            <a:buSzTx/>
            <a:buFont typeface="Wingdings"/>
            <a:buNone/>
          </a:pPr>
          <a:r>
            <a:rPr kumimoji="0" lang="en-US" sz="2000" b="0" i="0" u="none" strike="noStrike" kern="1200" cap="none" spc="0" normalizeH="0" baseline="0" noProof="0">
              <a:ln>
                <a:noFill/>
              </a:ln>
              <a:solidFill>
                <a:srgbClr val="0D6CB9"/>
              </a:solidFill>
              <a:effectLst/>
              <a:uLnTx/>
              <a:uFillTx/>
              <a:latin typeface="Calibri"/>
              <a:cs typeface="Calibri"/>
            </a:rPr>
            <a:t> in the online STAAR practice tests.</a:t>
          </a:r>
          <a:endParaRPr lang="en-US" sz="2000" kern="1200">
            <a:solidFill>
              <a:srgbClr val="0D6CB9"/>
            </a:solidFill>
          </a:endParaRPr>
        </a:p>
      </dsp:txBody>
      <dsp:txXfrm>
        <a:off x="49880" y="3560933"/>
        <a:ext cx="5509034" cy="1464691"/>
      </dsp:txXfrm>
    </dsp:sp>
    <dsp:sp modelId="{30FF46CB-5EE4-404F-B592-88A5EB36026F}">
      <dsp:nvSpPr>
        <dsp:cNvPr id="0" name=""/>
        <dsp:cNvSpPr/>
      </dsp:nvSpPr>
      <dsp:spPr>
        <a:xfrm>
          <a:off x="6074898" y="1758978"/>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a:buNone/>
          </a:pPr>
          <a:r>
            <a:rPr kumimoji="0" lang="en-US" sz="2000" b="0" i="0" u="none" strike="noStrike" kern="1200" cap="none" spc="0" normalizeH="0" baseline="0" noProof="0">
              <a:ln>
                <a:noFill/>
              </a:ln>
              <a:solidFill>
                <a:srgbClr val="0D6CB9"/>
              </a:solidFill>
              <a:effectLst/>
              <a:uLnTx/>
              <a:uFillTx/>
              <a:latin typeface="Calibri"/>
              <a:cs typeface="Calibri"/>
            </a:rPr>
            <a:t>Grade-specific eligibility must be met for a student who receives Section 504 or special education services and routinely and effectively uses the support in classroom instruction and testing.</a:t>
          </a:r>
          <a:endParaRPr lang="en-US" sz="2000" kern="1200">
            <a:solidFill>
              <a:srgbClr val="0D6CB9"/>
            </a:solidFill>
          </a:endParaRPr>
        </a:p>
      </dsp:txBody>
      <dsp:txXfrm>
        <a:off x="6120467" y="1804547"/>
        <a:ext cx="5509034" cy="1464691"/>
      </dsp:txXfrm>
    </dsp:sp>
    <dsp:sp modelId="{2595DE9B-56E6-4317-A120-D24001D4CDC3}">
      <dsp:nvSpPr>
        <dsp:cNvPr id="0" name=""/>
        <dsp:cNvSpPr/>
      </dsp:nvSpPr>
      <dsp:spPr>
        <a:xfrm>
          <a:off x="6074898" y="3515364"/>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16038"/>
            </a:buClr>
            <a:buFont typeface="Wingdings" panose="05000000000000000000" pitchFamily="2" charset="2"/>
            <a:buNone/>
          </a:pPr>
          <a:r>
            <a:rPr lang="en-US" sz="2000" kern="1200">
              <a:solidFill>
                <a:srgbClr val="0D6CB9"/>
              </a:solidFill>
            </a:rPr>
            <a:t>The four-function calculator will remain available for students that meet eligibility in grades 3–7 to use a calculation device.​</a:t>
          </a:r>
          <a:endParaRPr lang="en-US" sz="2000" kern="1200">
            <a:solidFill>
              <a:srgbClr val="0D6CB9"/>
            </a:solidFill>
            <a:cs typeface="Calibri"/>
          </a:endParaRPr>
        </a:p>
        <a:p>
          <a:pPr marL="0" lvl="0" indent="0" algn="ctr" defTabSz="889000">
            <a:lnSpc>
              <a:spcPct val="90000"/>
            </a:lnSpc>
            <a:spcBef>
              <a:spcPct val="0"/>
            </a:spcBef>
            <a:spcAft>
              <a:spcPct val="35000"/>
            </a:spcAft>
            <a:buClr>
              <a:srgbClr val="F16038"/>
            </a:buClr>
            <a:buFont typeface="Wingdings" panose="05000000000000000000" pitchFamily="2" charset="2"/>
            <a:buNone/>
          </a:pPr>
          <a:endParaRPr lang="en-US" sz="2000" kern="1200">
            <a:solidFill>
              <a:srgbClr val="0D6CB9"/>
            </a:solidFill>
          </a:endParaRPr>
        </a:p>
      </dsp:txBody>
      <dsp:txXfrm>
        <a:off x="6120467" y="3560933"/>
        <a:ext cx="5509034" cy="146469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394" y="0"/>
          <a:ext cx="11670987" cy="1011299"/>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Calculation</a:t>
          </a:r>
          <a:r>
            <a:rPr lang="en-US" sz="2400" b="1" kern="1200" baseline="0"/>
            <a:t> Aids </a:t>
          </a:r>
          <a:r>
            <a:rPr lang="en-US" sz="2000" b="0" kern="1200" baseline="0"/>
            <a:t>(continued):</a:t>
          </a:r>
          <a:endParaRPr lang="en-US" sz="2400" b="0" kern="1200"/>
        </a:p>
      </dsp:txBody>
      <dsp:txXfrm>
        <a:off x="38014" y="29620"/>
        <a:ext cx="11611747" cy="952059"/>
      </dsp:txXfrm>
    </dsp:sp>
    <dsp:sp modelId="{958FB0CF-2EA0-4CFE-9283-F26E975A5CDB}">
      <dsp:nvSpPr>
        <dsp:cNvPr id="0" name=""/>
        <dsp:cNvSpPr/>
      </dsp:nvSpPr>
      <dsp:spPr>
        <a:xfrm>
          <a:off x="15589" y="1088396"/>
          <a:ext cx="11648203" cy="570102"/>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Clr>
              <a:srgbClr val="FF8134"/>
            </a:buClr>
            <a:buSzTx/>
            <a:buFont typeface="Wingdings" panose="05000000000000000000" pitchFamily="2" charset="2"/>
            <a:buNone/>
          </a:pPr>
          <a:r>
            <a:rPr kumimoji="0" lang="en-US" sz="2400" b="1" i="0" u="none" strike="noStrike" kern="1200" cap="none" spc="0" normalizeH="0" baseline="0" noProof="0">
              <a:ln>
                <a:noFill/>
              </a:ln>
              <a:solidFill>
                <a:srgbClr val="0D6CB9"/>
              </a:solidFill>
              <a:effectLst/>
              <a:uLnTx/>
              <a:uFillTx/>
              <a:latin typeface="Calibri"/>
              <a:cs typeface="Calibri"/>
            </a:rPr>
            <a:t>Allowable Examples/Types</a:t>
          </a:r>
          <a:endParaRPr lang="en-US" sz="2400" b="1" kern="1200">
            <a:solidFill>
              <a:srgbClr val="0D6CB9"/>
            </a:solidFill>
          </a:endParaRPr>
        </a:p>
      </dsp:txBody>
      <dsp:txXfrm>
        <a:off x="32287" y="1105094"/>
        <a:ext cx="11614807" cy="536706"/>
      </dsp:txXfrm>
    </dsp:sp>
    <dsp:sp modelId="{C2402F4C-CBC6-48BD-B6D3-98F66CC6DA27}">
      <dsp:nvSpPr>
        <dsp:cNvPr id="0" name=""/>
        <dsp:cNvSpPr/>
      </dsp:nvSpPr>
      <dsp:spPr>
        <a:xfrm>
          <a:off x="15589" y="2299750"/>
          <a:ext cx="2253909" cy="2769772"/>
        </a:xfrm>
        <a:prstGeom prst="roundRect">
          <a:avLst>
            <a:gd name="adj" fmla="val 10000"/>
          </a:avLst>
        </a:prstGeom>
        <a:solidFill>
          <a:schemeClr val="bg1"/>
        </a:solidFill>
        <a:ln w="12700" cap="flat" cmpd="sng" algn="ctr">
          <a:solidFill>
            <a:srgbClr val="FF33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Basic (i.e., four-function) handheld calculator or calculator application, including large-key or speech-output</a:t>
          </a:r>
          <a:endParaRPr lang="en-US" sz="2000" b="0" i="0" u="none" strike="noStrike" kern="1200" cap="none" spc="0" normalizeH="0" baseline="0" noProof="0">
            <a:ln>
              <a:noFill/>
            </a:ln>
            <a:solidFill>
              <a:srgbClr val="0D6CB9"/>
            </a:solidFill>
            <a:effectLst/>
            <a:uLnTx/>
            <a:uFillTx/>
            <a:latin typeface="Calibri"/>
            <a:cs typeface="Calibri"/>
          </a:endParaRPr>
        </a:p>
      </dsp:txBody>
      <dsp:txXfrm>
        <a:off x="81604" y="2365765"/>
        <a:ext cx="2121879" cy="2637742"/>
      </dsp:txXfrm>
    </dsp:sp>
    <dsp:sp modelId="{07D57577-A6E0-4018-9FC7-FDA9C2611774}">
      <dsp:nvSpPr>
        <dsp:cNvPr id="0" name=""/>
        <dsp:cNvSpPr/>
      </dsp:nvSpPr>
      <dsp:spPr>
        <a:xfrm>
          <a:off x="2364162" y="2299750"/>
          <a:ext cx="2253909" cy="2769772"/>
        </a:xfrm>
        <a:prstGeom prst="roundRect">
          <a:avLst>
            <a:gd name="adj" fmla="val 10000"/>
          </a:avLst>
        </a:prstGeom>
        <a:solidFill>
          <a:schemeClr val="bg1"/>
        </a:solidFill>
        <a:ln w="12700" cap="flat" cmpd="sng" algn="ctr">
          <a:solidFill>
            <a:srgbClr val="FF33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Basic calculator available as an online embedded support on STAAR</a:t>
          </a:r>
          <a:endParaRPr lang="en-US" sz="2000" b="0" i="0" u="none" strike="noStrike" kern="1200" cap="none" spc="0" normalizeH="0" baseline="0" noProof="0">
            <a:ln>
              <a:noFill/>
            </a:ln>
            <a:solidFill>
              <a:srgbClr val="0D6CB9"/>
            </a:solidFill>
            <a:effectLst/>
            <a:uLnTx/>
            <a:uFillTx/>
            <a:latin typeface="Calibri"/>
            <a:cs typeface="Calibri"/>
          </a:endParaRPr>
        </a:p>
      </dsp:txBody>
      <dsp:txXfrm>
        <a:off x="2430177" y="2365765"/>
        <a:ext cx="2121879" cy="2637742"/>
      </dsp:txXfrm>
    </dsp:sp>
    <dsp:sp modelId="{52AAFDB0-AF7A-4188-BD92-4DD2F6C32D14}">
      <dsp:nvSpPr>
        <dsp:cNvPr id="0" name=""/>
        <dsp:cNvSpPr/>
      </dsp:nvSpPr>
      <dsp:spPr>
        <a:xfrm>
          <a:off x="4712736" y="2299750"/>
          <a:ext cx="2253909" cy="2769772"/>
        </a:xfrm>
        <a:prstGeom prst="roundRect">
          <a:avLst>
            <a:gd name="adj" fmla="val 10000"/>
          </a:avLst>
        </a:prstGeom>
        <a:solidFill>
          <a:schemeClr val="bg1"/>
        </a:solidFill>
        <a:ln w="12700" cap="flat" cmpd="sng" algn="ctr">
          <a:solidFill>
            <a:srgbClr val="FF33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Abacus or Cranmer modified abacus</a:t>
          </a:r>
          <a:endParaRPr lang="en-US" sz="2000" b="0" i="0" u="none" strike="noStrike" kern="1200" cap="none" spc="0" normalizeH="0" baseline="0" noProof="0">
            <a:ln>
              <a:noFill/>
            </a:ln>
            <a:solidFill>
              <a:srgbClr val="0D6CB9"/>
            </a:solidFill>
            <a:effectLst/>
            <a:uLnTx/>
            <a:uFillTx/>
            <a:latin typeface="Calibri"/>
            <a:cs typeface="Calibri"/>
          </a:endParaRPr>
        </a:p>
      </dsp:txBody>
      <dsp:txXfrm>
        <a:off x="4778751" y="2365765"/>
        <a:ext cx="2121879" cy="2637742"/>
      </dsp:txXfrm>
    </dsp:sp>
    <dsp:sp modelId="{65E4BF4B-76BF-4282-88DD-9118A6C67E4F}">
      <dsp:nvSpPr>
        <dsp:cNvPr id="0" name=""/>
        <dsp:cNvSpPr/>
      </dsp:nvSpPr>
      <dsp:spPr>
        <a:xfrm>
          <a:off x="7061309" y="2299750"/>
          <a:ext cx="2253909" cy="2769772"/>
        </a:xfrm>
        <a:prstGeom prst="roundRect">
          <a:avLst>
            <a:gd name="adj" fmla="val 10000"/>
          </a:avLst>
        </a:prstGeom>
        <a:solidFill>
          <a:schemeClr val="bg1"/>
        </a:solidFill>
        <a:ln w="12700" cap="flat" cmpd="sng" algn="ctr">
          <a:solidFill>
            <a:srgbClr val="FF33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lang="en-US" sz="2000" kern="1200">
              <a:solidFill>
                <a:srgbClr val="0D6CB9"/>
              </a:solidFill>
              <a:latin typeface="Calibri"/>
              <a:cs typeface="Calibri"/>
            </a:rPr>
            <a:t>0–9</a:t>
          </a:r>
          <a:r>
            <a:rPr kumimoji="0" lang="en-US" sz="2000" b="0" i="0" u="none" strike="noStrike" kern="1200" cap="none" spc="0" normalizeH="0" baseline="0" noProof="0">
              <a:ln>
                <a:noFill/>
              </a:ln>
              <a:solidFill>
                <a:srgbClr val="0D6CB9"/>
              </a:solidFill>
              <a:effectLst/>
              <a:uLnTx/>
              <a:uFillTx/>
              <a:latin typeface="Calibri"/>
              <a:cs typeface="Calibri"/>
            </a:rPr>
            <a:t> addition grid without special number (e.g., even numbers) indicated</a:t>
          </a:r>
          <a:endParaRPr lang="en-US" sz="2000" b="0" i="0" u="none" strike="noStrike" kern="1200" cap="none" spc="0" normalizeH="0" baseline="0" noProof="0">
            <a:ln>
              <a:noFill/>
            </a:ln>
            <a:solidFill>
              <a:srgbClr val="0D6CB9"/>
            </a:solidFill>
            <a:effectLst/>
            <a:uLnTx/>
            <a:uFillTx/>
            <a:latin typeface="Calibri"/>
            <a:cs typeface="Calibri"/>
          </a:endParaRPr>
        </a:p>
      </dsp:txBody>
      <dsp:txXfrm>
        <a:off x="7127324" y="2365765"/>
        <a:ext cx="2121879" cy="2637742"/>
      </dsp:txXfrm>
    </dsp:sp>
    <dsp:sp modelId="{4A5E891C-D5BE-4F1A-9050-B5544DB27820}">
      <dsp:nvSpPr>
        <dsp:cNvPr id="0" name=""/>
        <dsp:cNvSpPr/>
      </dsp:nvSpPr>
      <dsp:spPr>
        <a:xfrm>
          <a:off x="9409883" y="2299750"/>
          <a:ext cx="2253909" cy="2769772"/>
        </a:xfrm>
        <a:prstGeom prst="roundRect">
          <a:avLst>
            <a:gd name="adj" fmla="val 10000"/>
          </a:avLst>
        </a:prstGeom>
        <a:solidFill>
          <a:schemeClr val="bg1"/>
        </a:solidFill>
        <a:ln w="12700" cap="flat" cmpd="sng" algn="ctr">
          <a:solidFill>
            <a:srgbClr val="FF33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Grade-appropriate multiplication grid without special numbers (e.g., perfect squares) indicated</a:t>
          </a:r>
          <a:endParaRPr lang="en-US" sz="2000" b="0" i="0" u="none" strike="noStrike" kern="1200" cap="none" spc="0" normalizeH="0" baseline="0" noProof="0">
            <a:ln>
              <a:noFill/>
            </a:ln>
            <a:solidFill>
              <a:srgbClr val="0D6CB9"/>
            </a:solidFill>
            <a:effectLst/>
            <a:uLnTx/>
            <a:uFillTx/>
            <a:latin typeface="Calibri"/>
            <a:cs typeface="Calibri"/>
          </a:endParaRPr>
        </a:p>
      </dsp:txBody>
      <dsp:txXfrm>
        <a:off x="9475898" y="2365765"/>
        <a:ext cx="2121879" cy="263774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2071" y="0"/>
          <a:ext cx="11677310" cy="1618322"/>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Content and Language Supports </a:t>
          </a:r>
          <a:r>
            <a:rPr lang="en-US" sz="2000" b="0" kern="1200"/>
            <a:t>allow for various types of assistance (e.g., scaffolded directions, assistance with tracking, graphic organizers, simplified language, graphic representations of vocabulary and concepts) to support a student’s understanding of selections, test questions, and answer choices</a:t>
          </a:r>
          <a:r>
            <a:rPr lang="en-US" sz="2000" b="1" kern="1200"/>
            <a:t>. </a:t>
          </a:r>
          <a:r>
            <a:rPr lang="en-US" sz="2000" b="0" kern="1200"/>
            <a:t>A student may receive this support if served by an ARD committee, Section 504 committee, or LPAC committee (for an English test).</a:t>
          </a:r>
        </a:p>
      </dsp:txBody>
      <dsp:txXfrm>
        <a:off x="49470" y="47399"/>
        <a:ext cx="11582512" cy="1523524"/>
      </dsp:txXfrm>
    </dsp:sp>
    <dsp:sp modelId="{4B67EDD2-C436-4E4B-9599-E8EE4A57B918}">
      <dsp:nvSpPr>
        <dsp:cNvPr id="0" name=""/>
        <dsp:cNvSpPr/>
      </dsp:nvSpPr>
      <dsp:spPr>
        <a:xfrm>
          <a:off x="74430" y="2442546"/>
          <a:ext cx="4785812" cy="1469118"/>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Font typeface="Wingdings"/>
            <a:buNone/>
          </a:pPr>
          <a:r>
            <a:rPr kumimoji="0" lang="en-US" sz="2000" b="1" i="0" u="none" strike="noStrike" kern="1200" cap="none" spc="0" normalizeH="0" baseline="0" noProof="0">
              <a:ln>
                <a:noFill/>
              </a:ln>
              <a:solidFill>
                <a:srgbClr val="0D6CB9"/>
              </a:solidFill>
              <a:effectLst/>
              <a:uLnTx/>
              <a:uFillTx/>
              <a:latin typeface="Calibri"/>
              <a:cs typeface="Calibri"/>
            </a:rPr>
            <a:t>NOTE:</a:t>
          </a:r>
          <a:r>
            <a:rPr kumimoji="0" lang="en-US" sz="2000" b="0" i="0" u="none" strike="noStrike" kern="1200" cap="none" spc="0" normalizeH="0" baseline="0" noProof="0">
              <a:ln>
                <a:noFill/>
              </a:ln>
              <a:solidFill>
                <a:srgbClr val="0D6CB9"/>
              </a:solidFill>
              <a:effectLst/>
              <a:uLnTx/>
              <a:uFillTx/>
              <a:latin typeface="Calibri"/>
              <a:cs typeface="Calibri"/>
            </a:rPr>
            <a:t> </a:t>
          </a:r>
          <a:r>
            <a:rPr lang="en-US" sz="2000" kern="1200">
              <a:solidFill>
                <a:srgbClr val="0D6CB9"/>
              </a:solidFill>
            </a:rPr>
            <a:t>Students for whom the LPAC recommends content and language supports for any English reading or English EOC assessment may not be reclassified at the end of the school year.</a:t>
          </a:r>
        </a:p>
      </dsp:txBody>
      <dsp:txXfrm>
        <a:off x="117459" y="2485575"/>
        <a:ext cx="4699754" cy="1383060"/>
      </dsp:txXfrm>
    </dsp:sp>
    <dsp:sp modelId="{30FF46CB-5EE4-404F-B592-88A5EB36026F}">
      <dsp:nvSpPr>
        <dsp:cNvPr id="0" name=""/>
        <dsp:cNvSpPr/>
      </dsp:nvSpPr>
      <dsp:spPr>
        <a:xfrm>
          <a:off x="4993793" y="3392694"/>
          <a:ext cx="6685588" cy="1469118"/>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Clr>
              <a:srgbClr val="1682C5"/>
            </a:buClr>
            <a:buSzPct val="95000"/>
            <a:buFont typeface="Arial"/>
            <a:buNone/>
          </a:pPr>
          <a:r>
            <a:rPr kumimoji="0" lang="en-US" sz="2000" b="0" i="0" u="none" strike="noStrike" kern="1200" cap="none" spc="0" normalizeH="0" baseline="0" noProof="0">
              <a:ln>
                <a:noFill/>
              </a:ln>
              <a:solidFill>
                <a:srgbClr val="0D6CB9"/>
              </a:solidFill>
              <a:effectLst/>
              <a:uLnTx/>
              <a:uFillTx/>
              <a:latin typeface="Calibri"/>
              <a:cs typeface="Calibri"/>
            </a:rPr>
            <a:t>EB students taking STAAR Spanish may be eligible for content and language supports if the Section 504 or ARD committee determines the student is eligible. </a:t>
          </a:r>
          <a:endParaRPr lang="en-US" sz="2000" kern="1200">
            <a:solidFill>
              <a:srgbClr val="0D6CB9"/>
            </a:solidFill>
            <a:latin typeface="Calibri Light" panose="020F0302020204030204"/>
          </a:endParaRPr>
        </a:p>
      </dsp:txBody>
      <dsp:txXfrm>
        <a:off x="5036822" y="3435723"/>
        <a:ext cx="6599530" cy="1383060"/>
      </dsp:txXfrm>
    </dsp:sp>
    <dsp:sp modelId="{2595DE9B-56E6-4317-A120-D24001D4CDC3}">
      <dsp:nvSpPr>
        <dsp:cNvPr id="0" name=""/>
        <dsp:cNvSpPr/>
      </dsp:nvSpPr>
      <dsp:spPr>
        <a:xfrm>
          <a:off x="4943196" y="1688501"/>
          <a:ext cx="6659511" cy="1602044"/>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 Supports are provided in the form of pop-ups, rollovers, prereading text, and supplementary materials, and are available on STAAR and STAAR Spanish online tests </a:t>
          </a:r>
          <a:r>
            <a:rPr kumimoji="0" lang="en-US" sz="2000" b="1" i="0" u="none" strike="noStrike" kern="1200" cap="none" spc="0" normalizeH="0" baseline="0" noProof="0">
              <a:ln>
                <a:noFill/>
              </a:ln>
              <a:solidFill>
                <a:srgbClr val="0D6CB9"/>
              </a:solidFill>
              <a:effectLst/>
              <a:uLnTx/>
              <a:uFillTx/>
              <a:latin typeface="Calibri" panose="020F0502020204030204"/>
              <a:ea typeface="+mn-ea"/>
              <a:cs typeface="+mn-cs"/>
            </a:rPr>
            <a:t>only.</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 </a:t>
          </a:r>
        </a:p>
      </dsp:txBody>
      <dsp:txXfrm>
        <a:off x="4990118" y="1735423"/>
        <a:ext cx="6565667" cy="15082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2FD5C9-83BD-4CEB-88CC-115D44428414}">
      <dsp:nvSpPr>
        <dsp:cNvPr id="0" name=""/>
        <dsp:cNvSpPr/>
      </dsp:nvSpPr>
      <dsp:spPr>
        <a:xfrm>
          <a:off x="1821673" y="1903684"/>
          <a:ext cx="1813796" cy="182667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43180" rIns="43180" bIns="43180" numCol="1" spcCol="1270" anchor="ctr" anchorCtr="0">
          <a:noAutofit/>
        </a:bodyPr>
        <a:lstStyle/>
        <a:p>
          <a:pPr marL="0" lvl="0" indent="0" algn="ctr" defTabSz="755650">
            <a:lnSpc>
              <a:spcPct val="90000"/>
            </a:lnSpc>
            <a:spcBef>
              <a:spcPct val="0"/>
            </a:spcBef>
            <a:spcAft>
              <a:spcPct val="35000"/>
            </a:spcAft>
            <a:buNone/>
          </a:pPr>
          <a:r>
            <a:rPr lang="en-US" sz="1700" kern="1200"/>
            <a:t>Accommodations Policy</a:t>
          </a:r>
        </a:p>
      </dsp:txBody>
      <dsp:txXfrm>
        <a:off x="1910215" y="1992226"/>
        <a:ext cx="1636712" cy="1649591"/>
      </dsp:txXfrm>
    </dsp:sp>
    <dsp:sp modelId="{AB1F3546-6494-4AE2-A643-8CEBD0398852}">
      <dsp:nvSpPr>
        <dsp:cNvPr id="0" name=""/>
        <dsp:cNvSpPr/>
      </dsp:nvSpPr>
      <dsp:spPr>
        <a:xfrm rot="16200000">
          <a:off x="2383072" y="1558185"/>
          <a:ext cx="690998" cy="0"/>
        </a:xfrm>
        <a:custGeom>
          <a:avLst/>
          <a:gdLst/>
          <a:ahLst/>
          <a:cxnLst/>
          <a:rect l="0" t="0" r="0" b="0"/>
          <a:pathLst>
            <a:path>
              <a:moveTo>
                <a:pt x="0" y="0"/>
              </a:moveTo>
              <a:lnTo>
                <a:pt x="690998" y="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36A8B8-C869-4E80-A1CC-5FB09EABF031}">
      <dsp:nvSpPr>
        <dsp:cNvPr id="0" name=""/>
        <dsp:cNvSpPr/>
      </dsp:nvSpPr>
      <dsp:spPr>
        <a:xfrm>
          <a:off x="2250249" y="256042"/>
          <a:ext cx="956643" cy="95664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n-US" sz="2200" kern="1200"/>
            <a:t>STAAR</a:t>
          </a:r>
        </a:p>
      </dsp:txBody>
      <dsp:txXfrm>
        <a:off x="2296948" y="302741"/>
        <a:ext cx="863245" cy="863245"/>
      </dsp:txXfrm>
    </dsp:sp>
    <dsp:sp modelId="{5BBC0E65-6452-4EE2-83ED-98C058F9BEF4}">
      <dsp:nvSpPr>
        <dsp:cNvPr id="0" name=""/>
        <dsp:cNvSpPr/>
      </dsp:nvSpPr>
      <dsp:spPr>
        <a:xfrm rot="1947008">
          <a:off x="3587855" y="3557294"/>
          <a:ext cx="609892" cy="0"/>
        </a:xfrm>
        <a:custGeom>
          <a:avLst/>
          <a:gdLst/>
          <a:ahLst/>
          <a:cxnLst/>
          <a:rect l="0" t="0" r="0" b="0"/>
          <a:pathLst>
            <a:path>
              <a:moveTo>
                <a:pt x="0" y="0"/>
              </a:moveTo>
              <a:lnTo>
                <a:pt x="609892" y="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6E9713B-A92A-42D7-8CC1-8CDC472FFDE5}">
      <dsp:nvSpPr>
        <dsp:cNvPr id="0" name=""/>
        <dsp:cNvSpPr/>
      </dsp:nvSpPr>
      <dsp:spPr>
        <a:xfrm>
          <a:off x="4150132" y="3546736"/>
          <a:ext cx="956643" cy="95664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889000">
            <a:lnSpc>
              <a:spcPct val="90000"/>
            </a:lnSpc>
            <a:spcBef>
              <a:spcPct val="0"/>
            </a:spcBef>
            <a:spcAft>
              <a:spcPct val="35000"/>
            </a:spcAft>
            <a:buNone/>
          </a:pPr>
          <a:r>
            <a:rPr lang="en-US" sz="2000" kern="1200" dirty="0"/>
            <a:t>TELPAS</a:t>
          </a:r>
        </a:p>
      </dsp:txBody>
      <dsp:txXfrm>
        <a:off x="4196831" y="3593435"/>
        <a:ext cx="863245" cy="863245"/>
      </dsp:txXfrm>
    </dsp:sp>
    <dsp:sp modelId="{C822831D-0C6B-4A8D-AEFB-265250F68ABF}">
      <dsp:nvSpPr>
        <dsp:cNvPr id="0" name=""/>
        <dsp:cNvSpPr/>
      </dsp:nvSpPr>
      <dsp:spPr>
        <a:xfrm rot="8852992">
          <a:off x="1259395" y="3557294"/>
          <a:ext cx="609892" cy="0"/>
        </a:xfrm>
        <a:custGeom>
          <a:avLst/>
          <a:gdLst/>
          <a:ahLst/>
          <a:cxnLst/>
          <a:rect l="0" t="0" r="0" b="0"/>
          <a:pathLst>
            <a:path>
              <a:moveTo>
                <a:pt x="0" y="0"/>
              </a:moveTo>
              <a:lnTo>
                <a:pt x="609892" y="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9F5FC1-FF09-47CA-BC06-03F4318604B7}">
      <dsp:nvSpPr>
        <dsp:cNvPr id="0" name=""/>
        <dsp:cNvSpPr/>
      </dsp:nvSpPr>
      <dsp:spPr>
        <a:xfrm>
          <a:off x="350366" y="3546736"/>
          <a:ext cx="956643" cy="95664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711200">
            <a:lnSpc>
              <a:spcPct val="90000"/>
            </a:lnSpc>
            <a:spcBef>
              <a:spcPct val="0"/>
            </a:spcBef>
            <a:spcAft>
              <a:spcPct val="35000"/>
            </a:spcAft>
            <a:buNone/>
          </a:pPr>
          <a:r>
            <a:rPr lang="en-US" sz="1600" kern="1200"/>
            <a:t>STAAR (Spanish)</a:t>
          </a:r>
        </a:p>
      </dsp:txBody>
      <dsp:txXfrm>
        <a:off x="397065" y="3593435"/>
        <a:ext cx="863245" cy="863245"/>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918209"/>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Content and Language Supports </a:t>
          </a:r>
          <a:r>
            <a:rPr lang="en-US" sz="2000" b="0" kern="1200"/>
            <a:t>(continued):</a:t>
          </a:r>
          <a:endParaRPr lang="en-US" sz="2800" b="0" kern="1200"/>
        </a:p>
      </dsp:txBody>
      <dsp:txXfrm>
        <a:off x="35515" y="26893"/>
        <a:ext cx="11616973" cy="864423"/>
      </dsp:txXfrm>
    </dsp:sp>
    <dsp:sp modelId="{958FB0CF-2EA0-4CFE-9283-F26E975A5CDB}">
      <dsp:nvSpPr>
        <dsp:cNvPr id="0" name=""/>
        <dsp:cNvSpPr/>
      </dsp:nvSpPr>
      <dsp:spPr>
        <a:xfrm>
          <a:off x="6016880" y="1226304"/>
          <a:ext cx="5600172" cy="183825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kumimoji="0" lang="en-US" sz="2000" b="1" i="0" u="none" strike="noStrike" kern="1200" cap="none" spc="0" normalizeH="0" baseline="0" noProof="0">
              <a:ln>
                <a:noFill/>
              </a:ln>
              <a:solidFill>
                <a:srgbClr val="0D6CB9"/>
              </a:solidFill>
              <a:effectLst/>
              <a:uLnTx/>
              <a:uFillTx/>
              <a:latin typeface="Calibri" panose="020F0502020204030204"/>
              <a:ea typeface="+mn-ea"/>
              <a:cs typeface="+mn-cs"/>
            </a:rPr>
            <a:t>NOTE: </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Although STAAR Spanish uses the same guidelines for Content and Language Supports as the English version of STAAR, some of the accommodations in the pop-ups and rollovers may not be identical due to linguistic differences. </a:t>
          </a:r>
          <a:endParaRPr kumimoji="0" lang="en-US" sz="2000" b="0" i="0" u="none" strike="noStrike" kern="1200" cap="none" spc="0" normalizeH="0" baseline="0" noProof="0">
            <a:ln>
              <a:noFill/>
            </a:ln>
            <a:solidFill>
              <a:srgbClr val="0D6CB9"/>
            </a:solidFill>
            <a:effectLst/>
            <a:uLnTx/>
            <a:uFillTx/>
            <a:latin typeface="Calibri"/>
            <a:cs typeface="Calibri"/>
          </a:endParaRPr>
        </a:p>
      </dsp:txBody>
      <dsp:txXfrm>
        <a:off x="6070721" y="1280145"/>
        <a:ext cx="5492490" cy="1730574"/>
      </dsp:txXfrm>
    </dsp:sp>
    <dsp:sp modelId="{D860588E-36D3-4090-A8EF-DA2D6AF23FE0}">
      <dsp:nvSpPr>
        <dsp:cNvPr id="0" name=""/>
        <dsp:cNvSpPr/>
      </dsp:nvSpPr>
      <dsp:spPr>
        <a:xfrm>
          <a:off x="4311" y="3232961"/>
          <a:ext cx="5600172" cy="183825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kumimoji="0" lang="en-US" sz="2000" b="0" i="0" u="none" strike="noStrike" kern="1200" cap="none" spc="0" normalizeH="0" baseline="0" noProof="0">
              <a:ln>
                <a:noFill/>
              </a:ln>
              <a:solidFill>
                <a:srgbClr val="0D6CB9"/>
              </a:solidFill>
              <a:effectLst/>
              <a:uLnTx/>
              <a:uFillTx/>
              <a:latin typeface="Calibri"/>
              <a:cs typeface="Calibri"/>
            </a:rPr>
            <a:t>STAAR and STAAR Spanish with embedded supports paper version available through the </a:t>
          </a:r>
          <a:r>
            <a:rPr kumimoji="0" lang="en-US" sz="2000" b="0" i="1" u="none" strike="noStrike" kern="1200" cap="none" spc="0" normalizeH="0" baseline="0" noProof="0">
              <a:ln>
                <a:noFill/>
              </a:ln>
              <a:solidFill>
                <a:srgbClr val="0D6CB9"/>
              </a:solidFill>
              <a:effectLst/>
              <a:uLnTx/>
              <a:uFillTx/>
              <a:latin typeface="Calibri"/>
              <a:cs typeface="Calibri"/>
            </a:rPr>
            <a:t>Special Paper Administration Process.</a:t>
          </a:r>
          <a:endParaRPr lang="en-US" sz="2000" i="1" kern="1200">
            <a:solidFill>
              <a:srgbClr val="0D6CB9"/>
            </a:solidFill>
          </a:endParaRPr>
        </a:p>
      </dsp:txBody>
      <dsp:txXfrm>
        <a:off x="58152" y="3286802"/>
        <a:ext cx="5492490" cy="1730574"/>
      </dsp:txXfrm>
    </dsp:sp>
    <dsp:sp modelId="{30FF46CB-5EE4-404F-B592-88A5EB36026F}">
      <dsp:nvSpPr>
        <dsp:cNvPr id="0" name=""/>
        <dsp:cNvSpPr/>
      </dsp:nvSpPr>
      <dsp:spPr>
        <a:xfrm>
          <a:off x="0" y="1225554"/>
          <a:ext cx="5600172" cy="183825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a:solidFill>
                <a:srgbClr val="0D6CB9"/>
              </a:solidFill>
            </a:rPr>
            <a:t>Writing, including Eng. I and II, will ONLY have </a:t>
          </a:r>
          <a:r>
            <a:rPr lang="en-US" sz="2000" kern="1200" err="1">
              <a:solidFill>
                <a:srgbClr val="0D6CB9"/>
              </a:solidFill>
            </a:rPr>
            <a:t>prereads</a:t>
          </a:r>
          <a:r>
            <a:rPr lang="en-US" sz="2000" kern="1200">
              <a:solidFill>
                <a:srgbClr val="0D6CB9"/>
              </a:solidFill>
            </a:rPr>
            <a:t> prior to the editing passages.</a:t>
          </a:r>
          <a:r>
            <a:rPr lang="en-US" sz="2000" kern="1200">
              <a:solidFill>
                <a:srgbClr val="0D6CB9"/>
              </a:solidFill>
              <a:latin typeface="Calibri Light" panose="020F0302020204030204"/>
            </a:rPr>
            <a:t> </a:t>
          </a:r>
          <a:endParaRPr lang="en-US" sz="2000" kern="1200">
            <a:solidFill>
              <a:srgbClr val="0D6CB9"/>
            </a:solidFill>
          </a:endParaRPr>
        </a:p>
        <a:p>
          <a:pPr marL="0" lvl="0" indent="0" algn="ctr" defTabSz="889000">
            <a:lnSpc>
              <a:spcPct val="90000"/>
            </a:lnSpc>
            <a:spcBef>
              <a:spcPct val="0"/>
            </a:spcBef>
            <a:spcAft>
              <a:spcPct val="35000"/>
            </a:spcAft>
            <a:buNone/>
          </a:pPr>
          <a:r>
            <a:rPr lang="en-US" sz="2000" kern="1200">
              <a:solidFill>
                <a:srgbClr val="0D6CB9"/>
              </a:solidFill>
            </a:rPr>
            <a:t>Reading selections, including Eng. I and II, will have </a:t>
          </a:r>
          <a:r>
            <a:rPr lang="en-US" sz="2000" kern="1200" err="1">
              <a:solidFill>
                <a:srgbClr val="0D6CB9"/>
              </a:solidFill>
            </a:rPr>
            <a:t>prereads</a:t>
          </a:r>
          <a:r>
            <a:rPr lang="en-US" sz="2000" kern="1200">
              <a:solidFill>
                <a:srgbClr val="0D6CB9"/>
              </a:solidFill>
            </a:rPr>
            <a:t> prior to the selections.</a:t>
          </a:r>
          <a:endParaRPr lang="en-US" sz="2400" kern="1200">
            <a:solidFill>
              <a:srgbClr val="0D6CB9"/>
            </a:solidFill>
          </a:endParaRPr>
        </a:p>
      </dsp:txBody>
      <dsp:txXfrm>
        <a:off x="53841" y="1279395"/>
        <a:ext cx="5492490" cy="173057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0" y="0"/>
          <a:ext cx="11679382" cy="1627192"/>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Individual Structured Reminders </a:t>
          </a:r>
          <a:r>
            <a:rPr lang="en-US" sz="2000" kern="1200"/>
            <a:t>allow a test administrator to provide a student individualized structured reminders to stay on task during state testing beyond what is required or allowed for any student during the standard administration procedures. A student may use this designated support if that student routinely and effectively uses it during classroom instruction and classroom testing.</a:t>
          </a:r>
        </a:p>
      </dsp:txBody>
      <dsp:txXfrm>
        <a:off x="47659" y="47659"/>
        <a:ext cx="11584064" cy="1531874"/>
      </dsp:txXfrm>
    </dsp:sp>
    <dsp:sp modelId="{53026FD3-D35D-4DAF-95CA-E18BFE9F2B31}">
      <dsp:nvSpPr>
        <dsp:cNvPr id="0" name=""/>
        <dsp:cNvSpPr/>
      </dsp:nvSpPr>
      <dsp:spPr>
        <a:xfrm>
          <a:off x="0" y="1725203"/>
          <a:ext cx="11679382" cy="601195"/>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i="0" kern="1200">
              <a:solidFill>
                <a:srgbClr val="0D6CB9"/>
              </a:solidFill>
            </a:rPr>
            <a:t>This designated support includes but is not limited to:</a:t>
          </a:r>
          <a:endParaRPr lang="en-US" sz="2400" kern="1200">
            <a:solidFill>
              <a:srgbClr val="0D6CB9"/>
            </a:solidFill>
          </a:endParaRPr>
        </a:p>
      </dsp:txBody>
      <dsp:txXfrm>
        <a:off x="17608" y="1742811"/>
        <a:ext cx="11644166" cy="565979"/>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918209"/>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Individual Structured Reminders </a:t>
          </a:r>
          <a:r>
            <a:rPr lang="en-US" sz="2000" b="0" kern="1200"/>
            <a:t>(continued)</a:t>
          </a:r>
          <a:r>
            <a:rPr lang="en-US" sz="2000" b="1" kern="1200"/>
            <a:t>:</a:t>
          </a:r>
          <a:endParaRPr lang="en-US" sz="2400" b="0" kern="1200"/>
        </a:p>
      </dsp:txBody>
      <dsp:txXfrm>
        <a:off x="35515" y="26893"/>
        <a:ext cx="11616973" cy="864423"/>
      </dsp:txXfrm>
    </dsp:sp>
    <dsp:sp modelId="{958FB0CF-2EA0-4CFE-9283-F26E975A5CDB}">
      <dsp:nvSpPr>
        <dsp:cNvPr id="0" name=""/>
        <dsp:cNvSpPr/>
      </dsp:nvSpPr>
      <dsp:spPr>
        <a:xfrm>
          <a:off x="6079209" y="3225627"/>
          <a:ext cx="5600172" cy="183825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a:solidFill>
                <a:srgbClr val="0D6CB9"/>
              </a:solidFill>
            </a:rPr>
            <a:t>Any type of administration in which the test administrator has to view a secure state assessment requires that the test administrator sign a security oath. Responding to test questions, making notes about test questions, and discussing the content of the test at any time are </a:t>
          </a:r>
          <a:r>
            <a:rPr lang="en-US" sz="1800" b="1" i="0" kern="1200">
              <a:solidFill>
                <a:srgbClr val="0D6CB9"/>
              </a:solidFill>
            </a:rPr>
            <a:t>prohibited.</a:t>
          </a:r>
          <a:endParaRPr kumimoji="0" lang="en-US" sz="1800" b="1" i="0" u="none" strike="noStrike" kern="1200" cap="none" spc="0" normalizeH="0" baseline="0" noProof="0">
            <a:ln>
              <a:noFill/>
            </a:ln>
            <a:solidFill>
              <a:srgbClr val="0D6CB9"/>
            </a:solidFill>
            <a:effectLst/>
            <a:uLnTx/>
            <a:uFillTx/>
            <a:latin typeface="Calibri"/>
            <a:cs typeface="Calibri"/>
          </a:endParaRPr>
        </a:p>
      </dsp:txBody>
      <dsp:txXfrm>
        <a:off x="6133050" y="3279468"/>
        <a:ext cx="5492490" cy="1730574"/>
      </dsp:txXfrm>
    </dsp:sp>
    <dsp:sp modelId="{D860588E-36D3-4090-A8EF-DA2D6AF23FE0}">
      <dsp:nvSpPr>
        <dsp:cNvPr id="0" name=""/>
        <dsp:cNvSpPr/>
      </dsp:nvSpPr>
      <dsp:spPr>
        <a:xfrm>
          <a:off x="4311" y="3232961"/>
          <a:ext cx="5600172" cy="183825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b="0" i="0" kern="1200" dirty="0">
              <a:solidFill>
                <a:srgbClr val="0D6CB9"/>
              </a:solidFill>
            </a:rPr>
            <a:t>For </a:t>
          </a:r>
          <a:r>
            <a:rPr lang="en-US" sz="1700" b="1" i="0" kern="1200" dirty="0">
              <a:solidFill>
                <a:srgbClr val="0D6CB9"/>
              </a:solidFill>
              <a:latin typeface="Calibri Light" panose="020F0302020204030204"/>
            </a:rPr>
            <a:t>TELPAS grades</a:t>
          </a:r>
          <a:r>
            <a:rPr lang="en-US" sz="1700" b="1" i="0" kern="1200" dirty="0">
              <a:solidFill>
                <a:srgbClr val="0D6CB9"/>
              </a:solidFill>
            </a:rPr>
            <a:t> </a:t>
          </a:r>
          <a:r>
            <a:rPr lang="en-US" sz="1700" b="0" i="0" kern="1200" dirty="0">
              <a:solidFill>
                <a:srgbClr val="0D6CB9"/>
              </a:solidFill>
            </a:rPr>
            <a:t>2–12, these supports only apply to the online</a:t>
          </a:r>
          <a:r>
            <a:rPr lang="en-US" sz="1700" b="0" i="0" kern="1200" dirty="0">
              <a:solidFill>
                <a:srgbClr val="0D6CB9"/>
              </a:solidFill>
              <a:latin typeface="Calibri Light" panose="020F0302020204030204"/>
            </a:rPr>
            <a:t> reading</a:t>
          </a:r>
          <a:r>
            <a:rPr lang="en-US" sz="1700" b="0" i="0" kern="1200" dirty="0">
              <a:solidFill>
                <a:srgbClr val="0D6CB9"/>
              </a:solidFill>
            </a:rPr>
            <a:t> </a:t>
          </a:r>
          <a:r>
            <a:rPr lang="en-US" sz="1700" b="0" i="0" kern="1200" dirty="0">
              <a:solidFill>
                <a:srgbClr val="0D6CB9"/>
              </a:solidFill>
              <a:latin typeface="Calibri Light" panose="020F0302020204030204"/>
            </a:rPr>
            <a:t>and writing test, paper</a:t>
          </a:r>
          <a:r>
            <a:rPr lang="en-US" sz="1700" b="0" i="0" kern="1200" dirty="0">
              <a:solidFill>
                <a:srgbClr val="0D6CB9"/>
              </a:solidFill>
            </a:rPr>
            <a:t> reading test and the online listening and speaking test. They do not apply to any holistically-rated domain, since those are assessed during authentic classroom activities and the same accommodations routinely used during classroom instruction are acceptable. </a:t>
          </a:r>
          <a:endParaRPr lang="en-US" sz="1700" kern="1200" dirty="0">
            <a:solidFill>
              <a:srgbClr val="0D6CB9"/>
            </a:solidFill>
          </a:endParaRPr>
        </a:p>
      </dsp:txBody>
      <dsp:txXfrm>
        <a:off x="58152" y="3286802"/>
        <a:ext cx="5492490" cy="1730574"/>
      </dsp:txXfrm>
    </dsp:sp>
    <dsp:sp modelId="{30FF46CB-5EE4-404F-B592-88A5EB36026F}">
      <dsp:nvSpPr>
        <dsp:cNvPr id="0" name=""/>
        <dsp:cNvSpPr/>
      </dsp:nvSpPr>
      <dsp:spPr>
        <a:xfrm>
          <a:off x="6074898" y="1157741"/>
          <a:ext cx="5600172" cy="183825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a:solidFill>
                <a:srgbClr val="0D6CB9"/>
              </a:solidFill>
            </a:rPr>
            <a:t>Some students might need assistance with certain reminders (e.g., inserting paperclips, setting the timer). This is allowable; however, it is preferable that the student, rather than the test administrator, direct or control the use of the reminder when possible.</a:t>
          </a:r>
          <a:endParaRPr lang="en-US" sz="1800" kern="1200">
            <a:solidFill>
              <a:srgbClr val="0D6CB9"/>
            </a:solidFill>
          </a:endParaRPr>
        </a:p>
      </dsp:txBody>
      <dsp:txXfrm>
        <a:off x="6128739" y="1211582"/>
        <a:ext cx="5492490" cy="1730574"/>
      </dsp:txXfrm>
    </dsp:sp>
    <dsp:sp modelId="{2595DE9B-56E6-4317-A120-D24001D4CDC3}">
      <dsp:nvSpPr>
        <dsp:cNvPr id="0" name=""/>
        <dsp:cNvSpPr/>
      </dsp:nvSpPr>
      <dsp:spPr>
        <a:xfrm>
          <a:off x="0" y="1213250"/>
          <a:ext cx="5600172" cy="183825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solidFill>
                <a:srgbClr val="0D6CB9"/>
              </a:solidFill>
            </a:rPr>
            <a:t>A student who uses this designated support may complete the test in a separate setting to eliminate distractions to other students and to ensure the confidentiality of the test.</a:t>
          </a:r>
          <a:endParaRPr lang="en-US" sz="2000" kern="1200">
            <a:solidFill>
              <a:srgbClr val="0D6CB9"/>
            </a:solidFill>
          </a:endParaRPr>
        </a:p>
      </dsp:txBody>
      <dsp:txXfrm>
        <a:off x="53841" y="1267091"/>
        <a:ext cx="5492490" cy="1730574"/>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0" y="0"/>
          <a:ext cx="11679382" cy="1066761"/>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Large Print </a:t>
          </a:r>
          <a:r>
            <a:rPr lang="en-US" sz="2000" b="0" kern="1200"/>
            <a:t>provides a student with enlarged test materials when he or she is unable to effectively access test materials in standard print size.</a:t>
          </a:r>
        </a:p>
      </dsp:txBody>
      <dsp:txXfrm>
        <a:off x="31244" y="31244"/>
        <a:ext cx="11616894" cy="1004273"/>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915507"/>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solidFill>
                <a:schemeClr val="bg1"/>
              </a:solidFill>
            </a:rPr>
            <a:t>Large Print </a:t>
          </a:r>
          <a:r>
            <a:rPr lang="en-US" sz="2400" b="0" kern="1200">
              <a:solidFill>
                <a:schemeClr val="bg1"/>
              </a:solidFill>
            </a:rPr>
            <a:t>(continued):</a:t>
          </a:r>
        </a:p>
      </dsp:txBody>
      <dsp:txXfrm>
        <a:off x="35436" y="26814"/>
        <a:ext cx="11617131" cy="861879"/>
      </dsp:txXfrm>
    </dsp:sp>
    <dsp:sp modelId="{958FB0CF-2EA0-4CFE-9283-F26E975A5CDB}">
      <dsp:nvSpPr>
        <dsp:cNvPr id="0" name=""/>
        <dsp:cNvSpPr/>
      </dsp:nvSpPr>
      <dsp:spPr>
        <a:xfrm>
          <a:off x="6079209" y="3224585"/>
          <a:ext cx="5600172" cy="1840734"/>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kumimoji="0" lang="en-US" sz="2000" b="0" i="0" u="none" strike="noStrike" kern="1200" cap="none" spc="0" normalizeH="0" baseline="0" noProof="0" dirty="0">
              <a:ln>
                <a:noFill/>
              </a:ln>
              <a:solidFill>
                <a:srgbClr val="0D6CB9"/>
              </a:solidFill>
              <a:effectLst/>
              <a:uLnTx/>
              <a:uFillTx/>
              <a:latin typeface="+mn-lt"/>
              <a:cs typeface="Calibri"/>
            </a:rPr>
            <a:t>There is no preview window for large print tests.</a:t>
          </a:r>
        </a:p>
      </dsp:txBody>
      <dsp:txXfrm>
        <a:off x="6133122" y="3278498"/>
        <a:ext cx="5492346" cy="1732908"/>
      </dsp:txXfrm>
    </dsp:sp>
    <dsp:sp modelId="{D860588E-36D3-4090-A8EF-DA2D6AF23FE0}">
      <dsp:nvSpPr>
        <dsp:cNvPr id="0" name=""/>
        <dsp:cNvSpPr/>
      </dsp:nvSpPr>
      <dsp:spPr>
        <a:xfrm>
          <a:off x="4311" y="3231930"/>
          <a:ext cx="5600172" cy="1840734"/>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i="0" kern="1200">
              <a:solidFill>
                <a:srgbClr val="0D6CB9"/>
              </a:solidFill>
            </a:rPr>
            <a:t>Specific information about large-print test materials, including the policy for students needing a test booklet in a larger print size than produced by the state, is available in the General Instructions for Administering Large-Print State Assessments document, located on TEA’s Accommodation Resources webpage</a:t>
          </a:r>
          <a:r>
            <a:rPr lang="en-US" sz="1800" b="0" i="0" kern="1200">
              <a:solidFill>
                <a:srgbClr val="0D6CB9"/>
              </a:solidFill>
            </a:rPr>
            <a:t>.</a:t>
          </a:r>
          <a:endParaRPr lang="en-US" sz="1800" kern="1200">
            <a:solidFill>
              <a:srgbClr val="0D6CB9"/>
            </a:solidFill>
          </a:endParaRPr>
        </a:p>
      </dsp:txBody>
      <dsp:txXfrm>
        <a:off x="58224" y="3285843"/>
        <a:ext cx="5492346" cy="1732908"/>
      </dsp:txXfrm>
    </dsp:sp>
    <dsp:sp modelId="{30FF46CB-5EE4-404F-B592-88A5EB36026F}">
      <dsp:nvSpPr>
        <dsp:cNvPr id="0" name=""/>
        <dsp:cNvSpPr/>
      </dsp:nvSpPr>
      <dsp:spPr>
        <a:xfrm>
          <a:off x="6074898" y="1211988"/>
          <a:ext cx="5600172" cy="1840734"/>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solidFill>
                <a:srgbClr val="0D6CB9"/>
              </a:solidFill>
            </a:rPr>
            <a:t>Student responses on large-print tests must be transcribed into DEI according to the procedures outlined in the Basic Transcribing </a:t>
          </a:r>
          <a:r>
            <a:rPr lang="en-US" sz="2000" b="1" i="0" kern="1200" dirty="0">
              <a:solidFill>
                <a:srgbClr val="0D6CB9"/>
              </a:solidFill>
              <a:latin typeface="Calibri Light" panose="020F0302020204030204"/>
            </a:rPr>
            <a:t>and</a:t>
          </a:r>
          <a:r>
            <a:rPr lang="en-US" sz="2000" b="1" i="0" kern="1200" dirty="0">
              <a:solidFill>
                <a:srgbClr val="0D6CB9"/>
              </a:solidFill>
            </a:rPr>
            <a:t> </a:t>
          </a:r>
          <a:r>
            <a:rPr lang="en-US" sz="2000" b="0" i="0" kern="1200" dirty="0">
              <a:solidFill>
                <a:srgbClr val="0D6CB9"/>
              </a:solidFill>
            </a:rPr>
            <a:t>Complex Transcribing policies. If this is not done, the student’s test cannot be scored.</a:t>
          </a:r>
          <a:endParaRPr lang="en-US" sz="2000" kern="1200" dirty="0">
            <a:solidFill>
              <a:srgbClr val="0D6CB9"/>
            </a:solidFill>
          </a:endParaRPr>
        </a:p>
      </dsp:txBody>
      <dsp:txXfrm>
        <a:off x="6128811" y="1265901"/>
        <a:ext cx="5492346" cy="1732908"/>
      </dsp:txXfrm>
    </dsp:sp>
    <dsp:sp modelId="{2595DE9B-56E6-4317-A120-D24001D4CDC3}">
      <dsp:nvSpPr>
        <dsp:cNvPr id="0" name=""/>
        <dsp:cNvSpPr/>
      </dsp:nvSpPr>
      <dsp:spPr>
        <a:xfrm>
          <a:off x="0" y="1209497"/>
          <a:ext cx="5600172" cy="1840734"/>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solidFill>
                <a:srgbClr val="0D6CB9"/>
              </a:solidFill>
            </a:rPr>
            <a:t>The ordering of large-print materials will be closely monitored to ensure districts are ordering only for those students who meet the eligibility criteria. In most cases, large-print test materials should be ordered only for a student with an impairment in vision.</a:t>
          </a:r>
          <a:endParaRPr lang="en-US" sz="2000" kern="1200">
            <a:solidFill>
              <a:srgbClr val="0D6CB9"/>
            </a:solidFill>
          </a:endParaRPr>
        </a:p>
      </dsp:txBody>
      <dsp:txXfrm>
        <a:off x="53913" y="1263410"/>
        <a:ext cx="5492346" cy="1732908"/>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1555829"/>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solidFill>
                <a:schemeClr val="bg1"/>
              </a:solidFill>
            </a:rPr>
            <a:t>Manipulating Test Materials </a:t>
          </a:r>
          <a:r>
            <a:rPr lang="en-US" sz="2000" b="0" i="0" kern="1200">
              <a:solidFill>
                <a:schemeClr val="bg1"/>
              </a:solidFill>
            </a:rPr>
            <a:t>allows the test administrator to physically manipulate test materials, online tools, and equipment for a student who is unable to do so independently. A student may receive this support if served by an ARD committee, Section 504 committee,</a:t>
          </a:r>
          <a:r>
            <a:rPr lang="en-US" sz="2000" b="1" i="0" kern="1200">
              <a:solidFill>
                <a:schemeClr val="bg1"/>
              </a:solidFill>
            </a:rPr>
            <a:t> </a:t>
          </a:r>
          <a:r>
            <a:rPr lang="en-US" sz="2000" b="1" i="0" kern="1200" err="1">
              <a:solidFill>
                <a:schemeClr val="bg1"/>
              </a:solidFill>
              <a:latin typeface="Calibri Light" panose="020F0302020204030204"/>
            </a:rPr>
            <a:t>RtI</a:t>
          </a:r>
          <a:r>
            <a:rPr lang="en-US" sz="2000" b="0" i="0" kern="1200">
              <a:solidFill>
                <a:schemeClr val="bg1"/>
              </a:solidFill>
            </a:rPr>
            <a:t> committee, or student assistance team.</a:t>
          </a:r>
        </a:p>
        <a:p>
          <a:pPr marL="0" lvl="0" indent="0" algn="l" defTabSz="1066800">
            <a:lnSpc>
              <a:spcPct val="90000"/>
            </a:lnSpc>
            <a:spcBef>
              <a:spcPct val="0"/>
            </a:spcBef>
            <a:spcAft>
              <a:spcPct val="35000"/>
            </a:spcAft>
            <a:buNone/>
          </a:pPr>
          <a:endParaRPr lang="en-US" sz="2400" b="1" kern="1200">
            <a:solidFill>
              <a:schemeClr val="tx1"/>
            </a:solidFill>
          </a:endParaRPr>
        </a:p>
      </dsp:txBody>
      <dsp:txXfrm>
        <a:off x="54191" y="45569"/>
        <a:ext cx="11579621" cy="1464691"/>
      </dsp:txXfrm>
    </dsp:sp>
    <dsp:sp modelId="{958FB0CF-2EA0-4CFE-9283-F26E975A5CDB}">
      <dsp:nvSpPr>
        <dsp:cNvPr id="0" name=""/>
        <dsp:cNvSpPr/>
      </dsp:nvSpPr>
      <dsp:spPr>
        <a:xfrm>
          <a:off x="6079209" y="3509157"/>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a:solidFill>
                <a:srgbClr val="0D6CB9"/>
              </a:solidFill>
            </a:rPr>
            <a:t>The student must give specific directions about how the test administrator should manipulate test materials, online tools, and equipment. The test administrator may not provide feedback regarding the correctness of the student’s directions.</a:t>
          </a:r>
          <a:endParaRPr kumimoji="0" lang="en-US" sz="1800" b="0" i="0" u="none" strike="noStrike" kern="1200" cap="none" spc="0" normalizeH="0" baseline="0" noProof="0">
            <a:ln>
              <a:noFill/>
            </a:ln>
            <a:solidFill>
              <a:srgbClr val="0D6CB9"/>
            </a:solidFill>
            <a:effectLst/>
            <a:uLnTx/>
            <a:uFillTx/>
            <a:latin typeface="Calibri"/>
            <a:cs typeface="Calibri"/>
          </a:endParaRPr>
        </a:p>
      </dsp:txBody>
      <dsp:txXfrm>
        <a:off x="6124778" y="3554726"/>
        <a:ext cx="5509034" cy="1464691"/>
      </dsp:txXfrm>
    </dsp:sp>
    <dsp:sp modelId="{D860588E-36D3-4090-A8EF-DA2D6AF23FE0}">
      <dsp:nvSpPr>
        <dsp:cNvPr id="0" name=""/>
        <dsp:cNvSpPr/>
      </dsp:nvSpPr>
      <dsp:spPr>
        <a:xfrm>
          <a:off x="4311" y="3515364"/>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Eligibility </a:t>
          </a:r>
          <a:r>
            <a:rPr lang="en-US" sz="2000" kern="1200">
              <a:solidFill>
                <a:srgbClr val="0D6CB9"/>
              </a:solidFill>
              <a:latin typeface="Calibri"/>
              <a:cs typeface="Calibri"/>
            </a:rPr>
            <a:t>includes</a:t>
          </a:r>
          <a:r>
            <a:rPr kumimoji="0" lang="en-US" sz="2000" b="0" i="0" u="none" strike="noStrike" kern="1200" cap="none" spc="0" normalizeH="0" baseline="0" noProof="0">
              <a:ln>
                <a:noFill/>
              </a:ln>
              <a:solidFill>
                <a:srgbClr val="0D6CB9"/>
              </a:solidFill>
              <a:effectLst/>
              <a:uLnTx/>
              <a:uFillTx/>
              <a:latin typeface="Calibri"/>
              <a:cs typeface="Calibri"/>
            </a:rPr>
            <a:t> routinely and effectively uses the support in classroom instruction and testing</a:t>
          </a:r>
          <a:r>
            <a:rPr lang="en-US" sz="2000" kern="1200">
              <a:solidFill>
                <a:srgbClr val="0D6CB9"/>
              </a:solidFill>
              <a:latin typeface="Calibri"/>
              <a:cs typeface="Calibri"/>
            </a:rPr>
            <a:t>.</a:t>
          </a:r>
          <a:endParaRPr lang="en-US" sz="2000" kern="1200">
            <a:solidFill>
              <a:srgbClr val="0D6CB9"/>
            </a:solidFill>
          </a:endParaRPr>
        </a:p>
      </dsp:txBody>
      <dsp:txXfrm>
        <a:off x="49880" y="3560933"/>
        <a:ext cx="5509034" cy="1464691"/>
      </dsp:txXfrm>
    </dsp:sp>
    <dsp:sp modelId="{30FF46CB-5EE4-404F-B592-88A5EB36026F}">
      <dsp:nvSpPr>
        <dsp:cNvPr id="0" name=""/>
        <dsp:cNvSpPr/>
      </dsp:nvSpPr>
      <dsp:spPr>
        <a:xfrm>
          <a:off x="6074898" y="1758978"/>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If a student is an EB student with a disability, the decision is made by the ARD committee in conjunction with the student’s LPAC.</a:t>
          </a:r>
          <a:endParaRPr lang="en-US" sz="2000" kern="1200">
            <a:solidFill>
              <a:srgbClr val="0D6CB9"/>
            </a:solidFill>
          </a:endParaRPr>
        </a:p>
      </dsp:txBody>
      <dsp:txXfrm>
        <a:off x="6120467" y="1804547"/>
        <a:ext cx="5509034" cy="1464691"/>
      </dsp:txXfrm>
    </dsp:sp>
    <dsp:sp modelId="{2595DE9B-56E6-4317-A120-D24001D4CDC3}">
      <dsp:nvSpPr>
        <dsp:cNvPr id="0" name=""/>
        <dsp:cNvSpPr/>
      </dsp:nvSpPr>
      <dsp:spPr>
        <a:xfrm>
          <a:off x="0" y="1805959"/>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dirty="0">
              <a:ln>
                <a:noFill/>
              </a:ln>
              <a:solidFill>
                <a:srgbClr val="0D6CB9"/>
              </a:solidFill>
              <a:effectLst/>
              <a:uLnTx/>
              <a:uFillTx/>
              <a:latin typeface="Calibri"/>
              <a:cs typeface="Calibri"/>
            </a:rPr>
            <a:t>If the student is not receiving special education or Section 504 services, the decision should be based on consistent academic struggles in the specific area even after intensive instruction and remediation.</a:t>
          </a:r>
          <a:endParaRPr lang="en-US" sz="2000" kern="1200" dirty="0">
            <a:solidFill>
              <a:srgbClr val="0D6CB9"/>
            </a:solidFill>
          </a:endParaRPr>
        </a:p>
      </dsp:txBody>
      <dsp:txXfrm>
        <a:off x="45569" y="1851528"/>
        <a:ext cx="5509034" cy="1464691"/>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0" y="0"/>
          <a:ext cx="11679382" cy="1347160"/>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solidFill>
                <a:schemeClr val="bg1"/>
              </a:solidFill>
            </a:rPr>
            <a:t>Manipulating Test Materials </a:t>
          </a:r>
          <a:r>
            <a:rPr lang="en-US" sz="2400" b="0" kern="1200">
              <a:solidFill>
                <a:schemeClr val="bg1"/>
              </a:solidFill>
            </a:rPr>
            <a:t>(continued):</a:t>
          </a:r>
          <a:endParaRPr lang="en-US" sz="2400" b="0" kern="1200">
            <a:solidFill>
              <a:schemeClr val="tx1"/>
            </a:solidFill>
          </a:endParaRPr>
        </a:p>
      </dsp:txBody>
      <dsp:txXfrm>
        <a:off x="39457" y="39457"/>
        <a:ext cx="11600468" cy="1268246"/>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6062" y="0"/>
          <a:ext cx="11673319" cy="1121103"/>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t>Mathematics </a:t>
          </a:r>
          <a:r>
            <a:rPr lang="en-US" sz="2400" b="1" kern="1200">
              <a:solidFill>
                <a:schemeClr val="bg1"/>
              </a:solidFill>
            </a:rPr>
            <a:t>Manipulatives </a:t>
          </a:r>
          <a:r>
            <a:rPr lang="en-US" sz="2000" b="0" i="0" kern="1200">
              <a:solidFill>
                <a:schemeClr val="bg1"/>
              </a:solidFill>
              <a:effectLst/>
              <a:latin typeface="-apple-system"/>
            </a:rPr>
            <a:t>supports are concrete objects or pictures of concrete objects for a student to move and touch in order to visualize abstract concepts. </a:t>
          </a:r>
          <a:endParaRPr lang="en-US" sz="2000" b="1" kern="1200">
            <a:solidFill>
              <a:schemeClr val="bg1"/>
            </a:solidFill>
          </a:endParaRPr>
        </a:p>
      </dsp:txBody>
      <dsp:txXfrm>
        <a:off x="38898" y="32836"/>
        <a:ext cx="11607647" cy="1055431"/>
      </dsp:txXfrm>
    </dsp:sp>
    <dsp:sp modelId="{C176959A-E696-410B-9B6D-0563C0A14D03}">
      <dsp:nvSpPr>
        <dsp:cNvPr id="0" name=""/>
        <dsp:cNvSpPr/>
      </dsp:nvSpPr>
      <dsp:spPr>
        <a:xfrm>
          <a:off x="14425" y="1446565"/>
          <a:ext cx="5446947" cy="2507164"/>
        </a:xfrm>
        <a:prstGeom prst="roundRect">
          <a:avLst>
            <a:gd name="adj" fmla="val 10000"/>
          </a:avLst>
        </a:prstGeom>
        <a:solidFill>
          <a:schemeClr val="bg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endParaRPr lang="en-US" sz="2000" kern="1200">
            <a:solidFill>
              <a:schemeClr val="tx1"/>
            </a:solidFill>
          </a:endParaRPr>
        </a:p>
      </dsp:txBody>
      <dsp:txXfrm>
        <a:off x="87857" y="1519997"/>
        <a:ext cx="5300083" cy="2360300"/>
      </dsp:txXfrm>
    </dsp:sp>
    <dsp:sp modelId="{30FF46CB-5EE4-404F-B592-88A5EB36026F}">
      <dsp:nvSpPr>
        <dsp:cNvPr id="0" name=""/>
        <dsp:cNvSpPr/>
      </dsp:nvSpPr>
      <dsp:spPr>
        <a:xfrm>
          <a:off x="5933339" y="1204521"/>
          <a:ext cx="5746039" cy="1674610"/>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0" i="0" kern="1200">
              <a:solidFill>
                <a:srgbClr val="0D6CB9"/>
              </a:solidFill>
            </a:rPr>
            <a:t>Using mathematics manipulatives as an accommodation during classroom instruction and classroom testing should not replace the teaching of subject-specific skills as outlined in the TEKS. The student </a:t>
          </a:r>
          <a:r>
            <a:rPr lang="en-US" sz="1700" b="1" i="0" kern="1200">
              <a:solidFill>
                <a:srgbClr val="0D6CB9"/>
              </a:solidFill>
            </a:rPr>
            <a:t>must</a:t>
          </a:r>
          <a:r>
            <a:rPr lang="en-US" sz="1700" b="0" i="0" kern="1200">
              <a:solidFill>
                <a:srgbClr val="0D6CB9"/>
              </a:solidFill>
            </a:rPr>
            <a:t> be able to understand the information that the mathematics manipulatives provide and simply need assistance recalling or visualizing the concepts.</a:t>
          </a:r>
          <a:endParaRPr lang="en-US" sz="1700" kern="1200">
            <a:solidFill>
              <a:srgbClr val="0D6CB9"/>
            </a:solidFill>
          </a:endParaRPr>
        </a:p>
      </dsp:txBody>
      <dsp:txXfrm>
        <a:off x="5982387" y="1253569"/>
        <a:ext cx="5647943" cy="1576514"/>
      </dsp:txXfrm>
    </dsp:sp>
    <dsp:sp modelId="{2595DE9B-56E6-4317-A120-D24001D4CDC3}">
      <dsp:nvSpPr>
        <dsp:cNvPr id="0" name=""/>
        <dsp:cNvSpPr/>
      </dsp:nvSpPr>
      <dsp:spPr>
        <a:xfrm>
          <a:off x="48469" y="1204515"/>
          <a:ext cx="5746039" cy="162714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solidFill>
                <a:srgbClr val="0D6CB9"/>
              </a:solidFill>
              <a:effectLst/>
              <a:latin typeface="Calibri"/>
              <a:ea typeface="Calibri" panose="020F0502020204030204" pitchFamily="34" charset="0"/>
              <a:cs typeface="Times New Roman"/>
            </a:rPr>
            <a:t>For a student who meets the eligibility criteria, this designated support may be used on STAAR grades 3–8 mathematics, Algebra I, and STAAR Spanish grades 3–5 mathematics.</a:t>
          </a:r>
        </a:p>
      </dsp:txBody>
      <dsp:txXfrm>
        <a:off x="96127" y="1252173"/>
        <a:ext cx="5650723" cy="1531833"/>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11405" y="0"/>
          <a:ext cx="11667976" cy="867799"/>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Mathematics </a:t>
          </a:r>
          <a:r>
            <a:rPr lang="en-US" sz="2400" b="1" kern="1200">
              <a:solidFill>
                <a:schemeClr val="bg1"/>
              </a:solidFill>
            </a:rPr>
            <a:t>Manipulatives </a:t>
          </a:r>
          <a:r>
            <a:rPr lang="en-US" sz="2000" b="0" i="0" kern="1200">
              <a:solidFill>
                <a:schemeClr val="bg1"/>
              </a:solidFill>
              <a:effectLst/>
              <a:latin typeface="-apple-system"/>
            </a:rPr>
            <a:t>(continued):</a:t>
          </a:r>
          <a:endParaRPr lang="en-US" sz="2000" b="1" kern="1200">
            <a:solidFill>
              <a:schemeClr val="bg1"/>
            </a:solidFill>
          </a:endParaRPr>
        </a:p>
      </dsp:txBody>
      <dsp:txXfrm>
        <a:off x="36822" y="25417"/>
        <a:ext cx="11617142" cy="816965"/>
      </dsp:txXfrm>
    </dsp:sp>
    <dsp:sp modelId="{C176959A-E696-410B-9B6D-0563C0A14D03}">
      <dsp:nvSpPr>
        <dsp:cNvPr id="0" name=""/>
        <dsp:cNvSpPr/>
      </dsp:nvSpPr>
      <dsp:spPr>
        <a:xfrm>
          <a:off x="5702" y="1350077"/>
          <a:ext cx="11667976" cy="3721107"/>
        </a:xfrm>
        <a:prstGeom prst="roundRect">
          <a:avLst>
            <a:gd name="adj" fmla="val 10000"/>
          </a:avLst>
        </a:prstGeom>
        <a:solidFill>
          <a:schemeClr val="bg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endParaRPr lang="en-US" sz="2000" kern="1200">
            <a:solidFill>
              <a:schemeClr val="tx1"/>
            </a:solidFill>
          </a:endParaRPr>
        </a:p>
      </dsp:txBody>
      <dsp:txXfrm>
        <a:off x="114690" y="1459065"/>
        <a:ext cx="11450000" cy="3503131"/>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1555829"/>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Oral/Signed Administration </a:t>
          </a:r>
          <a:r>
            <a:rPr lang="en-US" sz="2000" b="0" i="0" kern="1200"/>
            <a:t>support allows test material to be read aloud or signed to a student. All references to reading support during an oral administration also apply to oral interpretation (e.g., lip reading) and signing during a signed administration. An online oral/signed administration is administered via text-to-speech (TTS) or American Sign Language (ASL) videos.</a:t>
          </a:r>
          <a:endParaRPr lang="en-US" sz="2000" b="1" kern="1200">
            <a:solidFill>
              <a:schemeClr val="tx1"/>
            </a:solidFill>
          </a:endParaRPr>
        </a:p>
      </dsp:txBody>
      <dsp:txXfrm>
        <a:off x="54191" y="45569"/>
        <a:ext cx="11579621" cy="1464691"/>
      </dsp:txXfrm>
    </dsp:sp>
    <dsp:sp modelId="{958FB0CF-2EA0-4CFE-9283-F26E975A5CDB}">
      <dsp:nvSpPr>
        <dsp:cNvPr id="0" name=""/>
        <dsp:cNvSpPr/>
      </dsp:nvSpPr>
      <dsp:spPr>
        <a:xfrm>
          <a:off x="6079209" y="3509157"/>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a:solidFill>
                <a:srgbClr val="0D6CB9"/>
              </a:solidFill>
            </a:rPr>
            <a:t>TTS is offered as an online option for oral administration. The TTS tool allows a student to independently select and change his or her level of reading support during the test administration. Students can also be registered for “automatic TTS” which will ensure all eligible parts of the test are read aloud. </a:t>
          </a:r>
          <a:endParaRPr kumimoji="0" lang="en-US" sz="1800" b="0" i="0" u="none" strike="noStrike" kern="1200" cap="none" spc="0" normalizeH="0" baseline="0" noProof="0">
            <a:ln>
              <a:noFill/>
            </a:ln>
            <a:solidFill>
              <a:srgbClr val="0D6CB9"/>
            </a:solidFill>
            <a:effectLst/>
            <a:uLnTx/>
            <a:uFillTx/>
            <a:latin typeface="Calibri"/>
            <a:cs typeface="Calibri"/>
          </a:endParaRPr>
        </a:p>
      </dsp:txBody>
      <dsp:txXfrm>
        <a:off x="6124778" y="3554726"/>
        <a:ext cx="5509034" cy="1464691"/>
      </dsp:txXfrm>
    </dsp:sp>
    <dsp:sp modelId="{D860588E-36D3-4090-A8EF-DA2D6AF23FE0}">
      <dsp:nvSpPr>
        <dsp:cNvPr id="0" name=""/>
        <dsp:cNvSpPr/>
      </dsp:nvSpPr>
      <dsp:spPr>
        <a:xfrm>
          <a:off x="4311" y="3515364"/>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solidFill>
                <a:srgbClr val="0D6CB9"/>
              </a:solidFill>
            </a:rPr>
            <a:t>Several types of oral administration are available. All guidelines for providing an oral administration apply to paper tests, braille tests, and online tests. </a:t>
          </a:r>
          <a:endParaRPr lang="en-US" sz="2000" kern="1200">
            <a:solidFill>
              <a:srgbClr val="0D6CB9"/>
            </a:solidFill>
          </a:endParaRPr>
        </a:p>
      </dsp:txBody>
      <dsp:txXfrm>
        <a:off x="49880" y="3560933"/>
        <a:ext cx="5509034" cy="1464691"/>
      </dsp:txXfrm>
    </dsp:sp>
    <dsp:sp modelId="{30FF46CB-5EE4-404F-B592-88A5EB36026F}">
      <dsp:nvSpPr>
        <dsp:cNvPr id="0" name=""/>
        <dsp:cNvSpPr/>
      </dsp:nvSpPr>
      <dsp:spPr>
        <a:xfrm>
          <a:off x="6074898" y="1758978"/>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i="0" kern="1200">
              <a:solidFill>
                <a:srgbClr val="0D6CB9"/>
              </a:solidFill>
            </a:rPr>
            <a:t>Test administrators must be trained in the procedures specific to an oral administration. Guidelines can be found in the </a:t>
          </a:r>
          <a:r>
            <a:rPr lang="en-US" sz="1900" b="0" i="1" kern="1200">
              <a:solidFill>
                <a:srgbClr val="0D6CB9"/>
              </a:solidFill>
            </a:rPr>
            <a:t>STAAR Oral and Signed Administrations Educator Guide </a:t>
          </a:r>
          <a:r>
            <a:rPr lang="en-US" sz="1900" b="0" i="0" kern="1200">
              <a:solidFill>
                <a:srgbClr val="0D6CB9"/>
              </a:solidFill>
            </a:rPr>
            <a:t>document located on the Accommodation Resources webpage.</a:t>
          </a:r>
          <a:endParaRPr lang="en-US" sz="1900" kern="1200">
            <a:solidFill>
              <a:srgbClr val="0D6CB9"/>
            </a:solidFill>
          </a:endParaRPr>
        </a:p>
      </dsp:txBody>
      <dsp:txXfrm>
        <a:off x="6120467" y="1804547"/>
        <a:ext cx="5509034" cy="1464691"/>
      </dsp:txXfrm>
    </dsp:sp>
    <dsp:sp modelId="{2595DE9B-56E6-4317-A120-D24001D4CDC3}">
      <dsp:nvSpPr>
        <dsp:cNvPr id="0" name=""/>
        <dsp:cNvSpPr/>
      </dsp:nvSpPr>
      <dsp:spPr>
        <a:xfrm>
          <a:off x="0" y="1805959"/>
          <a:ext cx="5600172" cy="1555829"/>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22325">
            <a:lnSpc>
              <a:spcPct val="90000"/>
            </a:lnSpc>
            <a:spcBef>
              <a:spcPct val="0"/>
            </a:spcBef>
            <a:spcAft>
              <a:spcPct val="35000"/>
            </a:spcAft>
            <a:buNone/>
          </a:pPr>
          <a:r>
            <a:rPr lang="en-US" sz="1850" b="0" i="0" kern="1200">
              <a:solidFill>
                <a:srgbClr val="0D6CB9"/>
              </a:solidFill>
              <a:effectLst/>
              <a:latin typeface="-apple-system"/>
            </a:rPr>
            <a:t>Oral administration can include different levels of reading support for each eligible student. The test administrator may read parts of the test questions and answer choices at student request or read all test questions and answer choices throughout the test. </a:t>
          </a:r>
          <a:endParaRPr lang="en-US" sz="1850" kern="1200">
            <a:solidFill>
              <a:srgbClr val="0D6CB9"/>
            </a:solidFill>
          </a:endParaRPr>
        </a:p>
      </dsp:txBody>
      <dsp:txXfrm>
        <a:off x="45569" y="1851528"/>
        <a:ext cx="5509034" cy="14646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E97B3A-9BE7-4142-9D4D-EA40E84F3C75}">
      <dsp:nvSpPr>
        <dsp:cNvPr id="0" name=""/>
        <dsp:cNvSpPr/>
      </dsp:nvSpPr>
      <dsp:spPr>
        <a:xfrm>
          <a:off x="0" y="0"/>
          <a:ext cx="11234057" cy="1292325"/>
        </a:xfrm>
        <a:prstGeom prst="rect">
          <a:avLst/>
        </a:prstGeom>
        <a:solidFill>
          <a:schemeClr val="bg1">
            <a:lumMod val="95000"/>
          </a:schemeClr>
        </a:solidFill>
        <a:ln w="31750">
          <a:solidFill>
            <a:schemeClr val="accent2"/>
          </a:solid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1" kern="1200">
              <a:solidFill>
                <a:schemeClr val="accent1"/>
              </a:solidFill>
            </a:rPr>
            <a:t>Accommodation considerations may benefit any student who:</a:t>
          </a:r>
        </a:p>
      </dsp:txBody>
      <dsp:txXfrm>
        <a:off x="0" y="0"/>
        <a:ext cx="11234057" cy="1292325"/>
      </dsp:txXfrm>
    </dsp:sp>
    <dsp:sp modelId="{C6830F61-C902-40C4-A5E9-176564350C92}">
      <dsp:nvSpPr>
        <dsp:cNvPr id="0" name=""/>
        <dsp:cNvSpPr/>
      </dsp:nvSpPr>
      <dsp:spPr>
        <a:xfrm>
          <a:off x="1371" y="1292325"/>
          <a:ext cx="2246262" cy="2713883"/>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outinely and effectively uses the support during classroom instruction and testing</a:t>
          </a:r>
          <a:endParaRPr lang="en-US" sz="2400" kern="1200" dirty="0"/>
        </a:p>
      </dsp:txBody>
      <dsp:txXfrm>
        <a:off x="1371" y="1292325"/>
        <a:ext cx="2246262" cy="2713883"/>
      </dsp:txXfrm>
    </dsp:sp>
    <dsp:sp modelId="{54CD4ABC-44C2-4CB4-99AA-E3F4DD5DC4EF}">
      <dsp:nvSpPr>
        <dsp:cNvPr id="0" name=""/>
        <dsp:cNvSpPr/>
      </dsp:nvSpPr>
      <dsp:spPr>
        <a:xfrm>
          <a:off x="2247634" y="1292325"/>
          <a:ext cx="2246262" cy="2713883"/>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s served by a 504 committee</a:t>
          </a:r>
        </a:p>
      </dsp:txBody>
      <dsp:txXfrm>
        <a:off x="2247634" y="1292325"/>
        <a:ext cx="2246262" cy="2713883"/>
      </dsp:txXfrm>
    </dsp:sp>
    <dsp:sp modelId="{F790DC9B-B3F6-4FD0-B6FE-88C6DCECFA4F}">
      <dsp:nvSpPr>
        <dsp:cNvPr id="0" name=""/>
        <dsp:cNvSpPr/>
      </dsp:nvSpPr>
      <dsp:spPr>
        <a:xfrm>
          <a:off x="4493897" y="1292325"/>
          <a:ext cx="2246262" cy="2713883"/>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s served by an ARD committee</a:t>
          </a:r>
        </a:p>
      </dsp:txBody>
      <dsp:txXfrm>
        <a:off x="4493897" y="1292325"/>
        <a:ext cx="2246262" cy="2713883"/>
      </dsp:txXfrm>
    </dsp:sp>
    <dsp:sp modelId="{ACAFBEB5-1413-4EFD-B0AD-D77206AA3961}">
      <dsp:nvSpPr>
        <dsp:cNvPr id="0" name=""/>
        <dsp:cNvSpPr/>
      </dsp:nvSpPr>
      <dsp:spPr>
        <a:xfrm>
          <a:off x="6740159" y="1292325"/>
          <a:ext cx="2246262" cy="271388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is served by an LPAC committee</a:t>
          </a:r>
        </a:p>
      </dsp:txBody>
      <dsp:txXfrm>
        <a:off x="6740159" y="1292325"/>
        <a:ext cx="2246262" cy="2713883"/>
      </dsp:txXfrm>
    </dsp:sp>
    <dsp:sp modelId="{AC2F4B35-9074-433A-950B-371455787466}">
      <dsp:nvSpPr>
        <dsp:cNvPr id="0" name=""/>
        <dsp:cNvSpPr/>
      </dsp:nvSpPr>
      <dsp:spPr>
        <a:xfrm>
          <a:off x="8986422" y="1292325"/>
          <a:ext cx="2246262" cy="271388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a:t>requires the use of an accessibility feature or designated support in an unexpected or emergency situation</a:t>
          </a:r>
          <a:r>
            <a:rPr lang="en-US" sz="2000" kern="1200">
              <a:latin typeface="Calibri Light" panose="020F0302020204030204"/>
            </a:rPr>
            <a:t>  </a:t>
          </a:r>
          <a:endParaRPr lang="en-US" sz="2000" kern="1200"/>
        </a:p>
      </dsp:txBody>
      <dsp:txXfrm>
        <a:off x="8986422" y="1292325"/>
        <a:ext cx="2246262" cy="2713883"/>
      </dsp:txXfrm>
    </dsp:sp>
    <dsp:sp modelId="{08130C88-D501-4FBE-819A-271E7FDC110B}">
      <dsp:nvSpPr>
        <dsp:cNvPr id="0" name=""/>
        <dsp:cNvSpPr/>
      </dsp:nvSpPr>
      <dsp:spPr>
        <a:xfrm>
          <a:off x="0" y="4006209"/>
          <a:ext cx="11234057" cy="301542"/>
        </a:xfrm>
        <a:prstGeom prst="rect">
          <a:avLst/>
        </a:prstGeom>
        <a:solidFill>
          <a:schemeClr val="bg1">
            <a:lumMod val="9500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914476"/>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t>Oral/Signed Administration </a:t>
          </a:r>
          <a:r>
            <a:rPr lang="en-US" sz="2000" b="1" kern="1200"/>
            <a:t>(continued):</a:t>
          </a:r>
          <a:endParaRPr lang="en-US" sz="2000" b="1" kern="1200">
            <a:solidFill>
              <a:schemeClr val="tx1"/>
            </a:solidFill>
          </a:endParaRPr>
        </a:p>
      </dsp:txBody>
      <dsp:txXfrm>
        <a:off x="35406" y="26784"/>
        <a:ext cx="11617191" cy="860908"/>
      </dsp:txXfrm>
    </dsp:sp>
    <dsp:sp modelId="{958FB0CF-2EA0-4CFE-9283-F26E975A5CDB}">
      <dsp:nvSpPr>
        <dsp:cNvPr id="0" name=""/>
        <dsp:cNvSpPr/>
      </dsp:nvSpPr>
      <dsp:spPr>
        <a:xfrm>
          <a:off x="6079209" y="3224070"/>
          <a:ext cx="5600172" cy="1840734"/>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5"/>
            </a:buClr>
            <a:buSzPct val="95000"/>
            <a:buFont typeface="Wingdings" panose="05000000000000000000" pitchFamily="2" charset="2"/>
            <a:buNone/>
          </a:pPr>
          <a:r>
            <a:rPr kumimoji="0" lang="en-US" sz="2000" b="0" i="0" u="none" strike="noStrike" kern="1200" cap="none" spc="0" normalizeH="0" baseline="0" noProof="0" dirty="0">
              <a:ln>
                <a:noFill/>
              </a:ln>
              <a:solidFill>
                <a:srgbClr val="0D6CB9"/>
              </a:solidFill>
              <a:effectLst/>
              <a:uLnTx/>
              <a:uFillTx/>
              <a:latin typeface="Calibri"/>
              <a:cs typeface="Calibri"/>
            </a:rPr>
            <a:t>For a student who is not receiving special education or Section 504 services, the decision should be based on consistent academic struggles in the specific area </a:t>
          </a:r>
          <a:r>
            <a:rPr lang="en-US" sz="2000" kern="1200" dirty="0">
              <a:solidFill>
                <a:srgbClr val="0D6CB9"/>
              </a:solidFill>
              <a:latin typeface="Calibri"/>
              <a:cs typeface="Calibri"/>
            </a:rPr>
            <a:t>even</a:t>
          </a:r>
          <a:r>
            <a:rPr kumimoji="0" lang="en-US" sz="2000" b="0" i="0" u="none" strike="noStrike" kern="1200" cap="none" spc="0" normalizeH="0" baseline="0" noProof="0" dirty="0">
              <a:ln>
                <a:noFill/>
              </a:ln>
              <a:solidFill>
                <a:srgbClr val="0D6CB9"/>
              </a:solidFill>
              <a:effectLst/>
              <a:uLnTx/>
              <a:uFillTx/>
              <a:latin typeface="Calibri"/>
              <a:cs typeface="Calibri"/>
            </a:rPr>
            <a:t> after intensive instruction and remediation. </a:t>
          </a:r>
        </a:p>
      </dsp:txBody>
      <dsp:txXfrm>
        <a:off x="6133122" y="3277983"/>
        <a:ext cx="5492346" cy="1732908"/>
      </dsp:txXfrm>
    </dsp:sp>
    <dsp:sp modelId="{D860588E-36D3-4090-A8EF-DA2D6AF23FE0}">
      <dsp:nvSpPr>
        <dsp:cNvPr id="0" name=""/>
        <dsp:cNvSpPr/>
      </dsp:nvSpPr>
      <dsp:spPr>
        <a:xfrm>
          <a:off x="4311" y="3231414"/>
          <a:ext cx="5600172" cy="1840734"/>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kumimoji="0" lang="en-US" sz="2000" b="0" i="0" u="none" strike="noStrike" kern="1200" cap="none" spc="0" normalizeH="0" baseline="0" noProof="0">
              <a:ln>
                <a:noFill/>
              </a:ln>
              <a:solidFill>
                <a:srgbClr val="0D6CB9"/>
              </a:solidFill>
              <a:effectLst/>
              <a:uLnTx/>
              <a:uFillTx/>
              <a:latin typeface="Calibri"/>
              <a:cs typeface="Calibri"/>
            </a:rPr>
            <a:t>EBs taking STAAR Spanish may be eligible for an oral administration IF they are identified with dyslexia or related disorder</a:t>
          </a:r>
          <a:r>
            <a:rPr lang="en-US" sz="2000" b="0" kern="1200">
              <a:solidFill>
                <a:srgbClr val="0D6CB9"/>
              </a:solidFill>
              <a:latin typeface="Calibri"/>
              <a:cs typeface="Calibri"/>
            </a:rPr>
            <a:t> </a:t>
          </a:r>
          <a:r>
            <a:rPr kumimoji="0" lang="en-US" sz="2000" b="0" i="0" u="none" strike="noStrike" kern="1200" cap="none" spc="0" normalizeH="0" baseline="0" noProof="0">
              <a:ln>
                <a:noFill/>
              </a:ln>
              <a:solidFill>
                <a:srgbClr val="0D6CB9"/>
              </a:solidFill>
              <a:effectLst/>
              <a:uLnTx/>
              <a:uFillTx/>
              <a:latin typeface="Calibri"/>
              <a:cs typeface="Calibri"/>
            </a:rPr>
            <a:t>OR </a:t>
          </a:r>
          <a:r>
            <a:rPr lang="en-US" sz="2000" b="0" kern="1200">
              <a:solidFill>
                <a:srgbClr val="0D6CB9"/>
              </a:solidFill>
              <a:latin typeface="Calibri"/>
              <a:cs typeface="Calibri"/>
            </a:rPr>
            <a:t>have</a:t>
          </a:r>
          <a:r>
            <a:rPr kumimoji="0" lang="en-US" sz="2000" b="0" i="0" u="none" strike="noStrike" kern="1200" cap="none" spc="0" normalizeH="0" baseline="0" noProof="0">
              <a:ln>
                <a:noFill/>
              </a:ln>
              <a:solidFill>
                <a:srgbClr val="0D6CB9"/>
              </a:solidFill>
              <a:effectLst/>
              <a:uLnTx/>
              <a:uFillTx/>
              <a:latin typeface="Calibri"/>
              <a:cs typeface="Calibri"/>
            </a:rPr>
            <a:t> documented evidence of reading difficulties.</a:t>
          </a:r>
          <a:r>
            <a:rPr lang="en-US" sz="2000" b="0" kern="1200">
              <a:solidFill>
                <a:srgbClr val="0D6CB9"/>
              </a:solidFill>
              <a:latin typeface="Calibri"/>
              <a:cs typeface="Calibri"/>
            </a:rPr>
            <a:t> </a:t>
          </a:r>
          <a:endParaRPr lang="en-US" sz="2000" b="0" kern="1200">
            <a:solidFill>
              <a:srgbClr val="0D6CB9"/>
            </a:solidFill>
          </a:endParaRPr>
        </a:p>
      </dsp:txBody>
      <dsp:txXfrm>
        <a:off x="58224" y="3285327"/>
        <a:ext cx="5492346" cy="1732908"/>
      </dsp:txXfrm>
    </dsp:sp>
    <dsp:sp modelId="{30FF46CB-5EE4-404F-B592-88A5EB36026F}">
      <dsp:nvSpPr>
        <dsp:cNvPr id="0" name=""/>
        <dsp:cNvSpPr/>
      </dsp:nvSpPr>
      <dsp:spPr>
        <a:xfrm>
          <a:off x="6074898" y="1153397"/>
          <a:ext cx="5600172" cy="1840734"/>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Clr>
              <a:srgbClr val="FF8135"/>
            </a:buClr>
            <a:buSzPct val="95000"/>
            <a:buFont typeface="Wingdings" panose="05000000000000000000" pitchFamily="2" charset="2"/>
            <a:buNone/>
          </a:pPr>
          <a:r>
            <a:rPr kumimoji="0" lang="en-US" sz="1800" b="0" i="0" u="none" strike="noStrike" kern="1200" cap="none" spc="0" normalizeH="0" baseline="0" noProof="0">
              <a:ln>
                <a:noFill/>
              </a:ln>
              <a:solidFill>
                <a:srgbClr val="0D6CB9"/>
              </a:solidFill>
              <a:effectLst/>
              <a:uLnTx/>
              <a:uFillTx/>
              <a:latin typeface="Calibri"/>
              <a:cs typeface="Calibri"/>
            </a:rPr>
            <a:t>For a student who is an EB with a disability, the decision is made by the ARD committee </a:t>
          </a:r>
          <a:r>
            <a:rPr kumimoji="0" lang="en-US" sz="1800" b="1" i="0" u="none" strike="noStrike" kern="1200" cap="none" spc="0" normalizeH="0" baseline="0" noProof="0">
              <a:ln>
                <a:noFill/>
              </a:ln>
              <a:solidFill>
                <a:srgbClr val="0D6CB9"/>
              </a:solidFill>
              <a:effectLst/>
              <a:uLnTx/>
              <a:uFillTx/>
              <a:latin typeface="Calibri"/>
              <a:cs typeface="Calibri"/>
            </a:rPr>
            <a:t>in conjunction </a:t>
          </a:r>
          <a:r>
            <a:rPr kumimoji="0" lang="en-US" sz="1800" b="0" i="0" u="none" strike="noStrike" kern="1200" cap="none" spc="0" normalizeH="0" baseline="0" noProof="0">
              <a:ln>
                <a:noFill/>
              </a:ln>
              <a:solidFill>
                <a:srgbClr val="0D6CB9"/>
              </a:solidFill>
              <a:effectLst/>
              <a:uLnTx/>
              <a:uFillTx/>
              <a:latin typeface="Calibri"/>
              <a:cs typeface="Calibri"/>
            </a:rPr>
            <a:t>with the student’s LPAC.</a:t>
          </a:r>
          <a:r>
            <a:rPr kumimoji="0" lang="en-US" sz="1800" b="1" i="0" u="none" strike="noStrike" kern="1200" cap="none" spc="0" normalizeH="0" baseline="0" noProof="0">
              <a:ln>
                <a:noFill/>
              </a:ln>
              <a:solidFill>
                <a:srgbClr val="0D6CB9"/>
              </a:solidFill>
              <a:effectLst/>
              <a:uLnTx/>
              <a:uFillTx/>
              <a:latin typeface="Calibri"/>
              <a:cs typeface="Calibri"/>
            </a:rPr>
            <a:t> </a:t>
          </a:r>
        </a:p>
        <a:p>
          <a:pPr marL="0" lvl="0" indent="0" algn="ctr" defTabSz="800100">
            <a:lnSpc>
              <a:spcPct val="90000"/>
            </a:lnSpc>
            <a:spcBef>
              <a:spcPct val="0"/>
            </a:spcBef>
            <a:spcAft>
              <a:spcPct val="35000"/>
            </a:spcAft>
            <a:buClr>
              <a:srgbClr val="FF8135"/>
            </a:buClr>
            <a:buSzPct val="95000"/>
            <a:buFont typeface="Wingdings" panose="05000000000000000000" pitchFamily="2" charset="2"/>
            <a:buNone/>
          </a:pPr>
          <a:r>
            <a:rPr kumimoji="0" lang="en-US" sz="1800" b="1" i="0" u="none" strike="noStrike" kern="1200" cap="none" spc="0" normalizeH="0" baseline="0" noProof="0">
              <a:ln>
                <a:noFill/>
              </a:ln>
              <a:solidFill>
                <a:srgbClr val="0D6CB9"/>
              </a:solidFill>
              <a:effectLst/>
              <a:uLnTx/>
              <a:uFillTx/>
              <a:latin typeface="Calibri"/>
              <a:cs typeface="Calibri"/>
            </a:rPr>
            <a:t>NOTE:</a:t>
          </a:r>
          <a:r>
            <a:rPr kumimoji="0" lang="en-US" sz="1800" b="0" i="0" u="none" strike="noStrike" kern="1200" cap="none" spc="0" normalizeH="0" baseline="0" noProof="0">
              <a:ln>
                <a:noFill/>
              </a:ln>
              <a:solidFill>
                <a:srgbClr val="0D6CB9"/>
              </a:solidFill>
              <a:effectLst/>
              <a:uLnTx/>
              <a:uFillTx/>
              <a:latin typeface="Calibri"/>
              <a:cs typeface="Calibri"/>
            </a:rPr>
            <a:t> </a:t>
          </a:r>
          <a:r>
            <a:rPr lang="en-US" sz="1800" kern="1200">
              <a:solidFill>
                <a:srgbClr val="0D6CB9"/>
              </a:solidFill>
            </a:rPr>
            <a:t>Students for whom the LPAC recommends oral administration for any English reading or English EOC assessment may not be reclassified at the end of the school year.</a:t>
          </a:r>
        </a:p>
      </dsp:txBody>
      <dsp:txXfrm>
        <a:off x="6128811" y="1207310"/>
        <a:ext cx="5492346" cy="1732908"/>
      </dsp:txXfrm>
    </dsp:sp>
    <dsp:sp modelId="{2595DE9B-56E6-4317-A120-D24001D4CDC3}">
      <dsp:nvSpPr>
        <dsp:cNvPr id="0" name=""/>
        <dsp:cNvSpPr/>
      </dsp:nvSpPr>
      <dsp:spPr>
        <a:xfrm>
          <a:off x="0" y="1208981"/>
          <a:ext cx="5600172" cy="1840734"/>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Clr>
              <a:srgbClr val="FF8135"/>
            </a:buClr>
            <a:buSzPct val="95000"/>
            <a:buFont typeface="Wingdings" panose="05000000000000000000" pitchFamily="2" charset="2"/>
            <a:buNone/>
          </a:pPr>
          <a:r>
            <a:rPr kumimoji="0" lang="en-US" sz="2000" i="0" u="none" strike="noStrike" kern="1200" cap="none" spc="0" normalizeH="0" baseline="0" noProof="0">
              <a:ln>
                <a:noFill/>
              </a:ln>
              <a:solidFill>
                <a:srgbClr val="0D6CB9"/>
              </a:solidFill>
              <a:effectLst/>
              <a:uLnTx/>
              <a:uFillTx/>
              <a:latin typeface="Calibri"/>
              <a:cs typeface="Calibri"/>
            </a:rPr>
            <a:t>For a student who is an EB, the decision is made by the LPAC based on the eligibility criteria and is documented in the student’s file.</a:t>
          </a:r>
          <a:endParaRPr lang="en-US" sz="2000" kern="1200">
            <a:solidFill>
              <a:srgbClr val="0D6CB9"/>
            </a:solidFill>
          </a:endParaRPr>
        </a:p>
      </dsp:txBody>
      <dsp:txXfrm>
        <a:off x="53913" y="1262894"/>
        <a:ext cx="5492346" cy="1732908"/>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11405" y="0"/>
          <a:ext cx="11667976" cy="526507"/>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t>Oral/Signed Administration </a:t>
          </a:r>
          <a:r>
            <a:rPr lang="en-US" sz="2000" b="0" kern="1200"/>
            <a:t>(continued):</a:t>
          </a:r>
          <a:r>
            <a:rPr lang="en-US" sz="2000" b="0" kern="1200">
              <a:latin typeface="Calibri Light" panose="020F0302020204030204"/>
            </a:rPr>
            <a:t> </a:t>
          </a:r>
          <a:endParaRPr lang="en-US" sz="2000" b="0" kern="1200"/>
        </a:p>
      </dsp:txBody>
      <dsp:txXfrm>
        <a:off x="26826" y="15421"/>
        <a:ext cx="11637134" cy="495665"/>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11405" y="0"/>
          <a:ext cx="11667976" cy="526507"/>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t>Oral/Signed Administration </a:t>
          </a:r>
          <a:r>
            <a:rPr lang="en-US" sz="2000" b="0" kern="1200"/>
            <a:t>(continued):</a:t>
          </a:r>
          <a:r>
            <a:rPr lang="en-US" sz="2000" b="0" kern="1200">
              <a:latin typeface="Calibri Light" panose="020F0302020204030204"/>
            </a:rPr>
            <a:t> </a:t>
          </a:r>
          <a:endParaRPr lang="en-US" sz="2000" b="0" kern="1200"/>
        </a:p>
      </dsp:txBody>
      <dsp:txXfrm>
        <a:off x="26826" y="15421"/>
        <a:ext cx="11637134" cy="495665"/>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11405" y="0"/>
          <a:ext cx="11667976" cy="526507"/>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t>Oral/Signed Administration </a:t>
          </a:r>
          <a:r>
            <a:rPr lang="en-US" sz="2000" b="0" kern="1200"/>
            <a:t>(continued):</a:t>
          </a:r>
          <a:r>
            <a:rPr lang="en-US" sz="2000" b="0" kern="1200">
              <a:latin typeface="Calibri Light" panose="020F0302020204030204"/>
            </a:rPr>
            <a:t> </a:t>
          </a:r>
          <a:endParaRPr lang="en-US" sz="2000" b="0" kern="1200"/>
        </a:p>
      </dsp:txBody>
      <dsp:txXfrm>
        <a:off x="26826" y="15421"/>
        <a:ext cx="11637134" cy="495665"/>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11405" y="0"/>
          <a:ext cx="11667976" cy="526507"/>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t>Oral/Signed Administration </a:t>
          </a:r>
          <a:r>
            <a:rPr lang="en-US" sz="2000" b="0" kern="1200"/>
            <a:t>(continued):</a:t>
          </a:r>
          <a:r>
            <a:rPr lang="en-US" sz="2000" b="0" kern="1200">
              <a:latin typeface="Calibri Light" panose="020F0302020204030204"/>
            </a:rPr>
            <a:t> </a:t>
          </a:r>
          <a:endParaRPr lang="en-US" sz="2000" b="0" kern="1200"/>
        </a:p>
      </dsp:txBody>
      <dsp:txXfrm>
        <a:off x="26826" y="15421"/>
        <a:ext cx="11637134" cy="495665"/>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11405" y="0"/>
          <a:ext cx="11667976" cy="526507"/>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t>Oral/Signed Administration </a:t>
          </a:r>
          <a:r>
            <a:rPr lang="en-US" sz="2000" b="0" kern="1200"/>
            <a:t>(continued):</a:t>
          </a:r>
          <a:r>
            <a:rPr lang="en-US" sz="2000" b="1" kern="1200">
              <a:latin typeface="Calibri Light" panose="020F0302020204030204"/>
            </a:rPr>
            <a:t> </a:t>
          </a:r>
          <a:endParaRPr lang="en-US" sz="2000" b="0" kern="1200"/>
        </a:p>
      </dsp:txBody>
      <dsp:txXfrm>
        <a:off x="26826" y="15421"/>
        <a:ext cx="11637134" cy="495665"/>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1115787"/>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solidFill>
                <a:schemeClr val="bg1"/>
              </a:solidFill>
            </a:rPr>
            <a:t>Spelling Assistance </a:t>
          </a:r>
          <a:r>
            <a:rPr lang="en-US" sz="2000" b="0" kern="1200">
              <a:solidFill>
                <a:schemeClr val="bg1"/>
              </a:solidFill>
            </a:rPr>
            <a:t>provides various types of spelling assistance for a student with a disability. A student may receive this support if served by an ARD committee or Section 504 committee.</a:t>
          </a:r>
        </a:p>
        <a:p>
          <a:pPr marL="0" lvl="0" indent="0" algn="l" defTabSz="1066800" rtl="0">
            <a:lnSpc>
              <a:spcPct val="90000"/>
            </a:lnSpc>
            <a:spcBef>
              <a:spcPct val="0"/>
            </a:spcBef>
            <a:spcAft>
              <a:spcPct val="35000"/>
            </a:spcAft>
            <a:buNone/>
          </a:pPr>
          <a:r>
            <a:rPr lang="en-US" sz="2000" b="0" kern="1200">
              <a:solidFill>
                <a:schemeClr val="bg1"/>
              </a:solidFill>
              <a:latin typeface="Calibri Light" panose="020F0302020204030204"/>
            </a:rPr>
            <a:t> </a:t>
          </a:r>
          <a:endParaRPr lang="en-US" sz="2000" b="0" kern="1200">
            <a:solidFill>
              <a:schemeClr val="bg1"/>
            </a:solidFill>
          </a:endParaRPr>
        </a:p>
      </dsp:txBody>
      <dsp:txXfrm>
        <a:off x="41302" y="32680"/>
        <a:ext cx="11605399" cy="1050427"/>
      </dsp:txXfrm>
    </dsp:sp>
    <dsp:sp modelId="{958FB0CF-2EA0-4CFE-9283-F26E975A5CDB}">
      <dsp:nvSpPr>
        <dsp:cNvPr id="0" name=""/>
        <dsp:cNvSpPr/>
      </dsp:nvSpPr>
      <dsp:spPr>
        <a:xfrm>
          <a:off x="6079209" y="3313584"/>
          <a:ext cx="5600172" cy="175154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Clr>
              <a:srgbClr val="FF8134"/>
            </a:buClr>
            <a:buSzTx/>
            <a:buFont typeface="Wingdings" panose="05000000000000000000" pitchFamily="2" charset="2"/>
            <a:buNone/>
          </a:pPr>
          <a:endParaRPr kumimoji="0" lang="en-US" sz="1800" b="0" i="0" u="none" strike="noStrike" kern="1200" cap="none" spc="0" normalizeH="0" baseline="0" noProof="0">
            <a:ln>
              <a:noFill/>
            </a:ln>
            <a:solidFill>
              <a:schemeClr val="tx1"/>
            </a:solidFill>
            <a:effectLst/>
            <a:uLnTx/>
            <a:uFillTx/>
            <a:latin typeface="Calibri"/>
            <a:cs typeface="Calibri"/>
          </a:endParaRPr>
        </a:p>
      </dsp:txBody>
      <dsp:txXfrm>
        <a:off x="6130510" y="3364885"/>
        <a:ext cx="5497570" cy="1648944"/>
      </dsp:txXfrm>
    </dsp:sp>
    <dsp:sp modelId="{D860588E-36D3-4090-A8EF-DA2D6AF23FE0}">
      <dsp:nvSpPr>
        <dsp:cNvPr id="0" name=""/>
        <dsp:cNvSpPr/>
      </dsp:nvSpPr>
      <dsp:spPr>
        <a:xfrm>
          <a:off x="4311" y="3320573"/>
          <a:ext cx="5600172" cy="175154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Clr>
              <a:srgbClr val="FF8134"/>
            </a:buClr>
            <a:buSzTx/>
            <a:buFont typeface="Wingdings" charset="2"/>
            <a:buNone/>
          </a:pPr>
          <a:r>
            <a:rPr kumimoji="0" lang="en-US" sz="1800" b="0" i="0" u="none" strike="noStrike" kern="1200" cap="none" spc="0" normalizeH="0" baseline="0" noProof="0">
              <a:ln>
                <a:noFill/>
              </a:ln>
              <a:solidFill>
                <a:srgbClr val="0D6CB9"/>
              </a:solidFill>
              <a:effectLst/>
              <a:uLnTx/>
              <a:uFillTx/>
              <a:latin typeface="Calibri"/>
              <a:cs typeface="Calibri"/>
            </a:rPr>
            <a:t>Available as an online embedded support on STAAR writing (composition) if a student routinely uses a similar tool during class instruction. For example, if a student uses a frequently misspelled word list or speech-to-text, then do NOT activate the online spelling assistance support in TIDE. The student will use what he or she routinely uses in class. </a:t>
          </a:r>
          <a:endParaRPr lang="en-US" sz="1800" b="0" kern="1200">
            <a:solidFill>
              <a:srgbClr val="0D6CB9"/>
            </a:solidFill>
          </a:endParaRPr>
        </a:p>
      </dsp:txBody>
      <dsp:txXfrm>
        <a:off x="55612" y="3371874"/>
        <a:ext cx="5497570" cy="1648944"/>
      </dsp:txXfrm>
    </dsp:sp>
    <dsp:sp modelId="{30FF46CB-5EE4-404F-B592-88A5EB36026F}">
      <dsp:nvSpPr>
        <dsp:cNvPr id="0" name=""/>
        <dsp:cNvSpPr/>
      </dsp:nvSpPr>
      <dsp:spPr>
        <a:xfrm>
          <a:off x="6074898" y="1343240"/>
          <a:ext cx="5600172" cy="175154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Clr>
              <a:srgbClr val="FF8134"/>
            </a:buClr>
            <a:buSzTx/>
            <a:buFont typeface="Wingdings"/>
            <a:buNone/>
          </a:pPr>
          <a:r>
            <a:rPr kumimoji="0" lang="en-US" sz="1800" b="0" i="0" u="none" strike="noStrike" kern="1200" cap="none" spc="0" normalizeH="0" baseline="0" noProof="0">
              <a:ln>
                <a:noFill/>
              </a:ln>
              <a:solidFill>
                <a:srgbClr val="0D6CB9"/>
              </a:solidFill>
              <a:effectLst/>
              <a:uLnTx/>
              <a:uFillTx/>
              <a:latin typeface="Calibri"/>
              <a:cs typeface="Calibri"/>
            </a:rPr>
            <a:t>A student should be capable of organizing and developing ideas and understands the basic function and use of written language conventions (e.g., sentence structures, irregular verbs) BUT has a disability that is so severe that he or she cannot apply basic spelling rules or word patterns (e.g., silent letters, base words with affixes) to written responses</a:t>
          </a:r>
          <a:endParaRPr lang="en-US" sz="1800" kern="1200">
            <a:solidFill>
              <a:srgbClr val="0D6CB9"/>
            </a:solidFill>
          </a:endParaRPr>
        </a:p>
      </dsp:txBody>
      <dsp:txXfrm>
        <a:off x="6126199" y="1394541"/>
        <a:ext cx="5497570" cy="1648944"/>
      </dsp:txXfrm>
    </dsp:sp>
    <dsp:sp modelId="{2595DE9B-56E6-4317-A120-D24001D4CDC3}">
      <dsp:nvSpPr>
        <dsp:cNvPr id="0" name=""/>
        <dsp:cNvSpPr/>
      </dsp:nvSpPr>
      <dsp:spPr>
        <a:xfrm>
          <a:off x="0" y="1396131"/>
          <a:ext cx="5600172" cy="175154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Clr>
              <a:srgbClr val="FF8135"/>
            </a:buClr>
            <a:buSzPct val="95000"/>
            <a:buFont typeface="Wingdings" panose="05000000000000000000" pitchFamily="2" charset="2"/>
            <a:buNone/>
          </a:pPr>
          <a:r>
            <a:rPr kumimoji="0" lang="en-US" sz="2000" b="0" i="0" u="none" strike="noStrike" kern="1200" cap="none" spc="0" normalizeH="0" baseline="0" noProof="0">
              <a:ln>
                <a:noFill/>
              </a:ln>
              <a:solidFill>
                <a:srgbClr val="0D6CB9"/>
              </a:solidFill>
              <a:effectLst/>
              <a:uLnTx/>
              <a:uFillTx/>
              <a:latin typeface="Calibri"/>
              <a:cs typeface="Calibri"/>
            </a:rPr>
            <a:t>If a student is an EB with a disability, the decision is made by the ARD committee </a:t>
          </a:r>
          <a:r>
            <a:rPr kumimoji="0" lang="en-US" sz="2000" b="1" i="0" u="none" strike="noStrike" kern="1200" cap="none" spc="0" normalizeH="0" baseline="0" noProof="0">
              <a:ln>
                <a:noFill/>
              </a:ln>
              <a:solidFill>
                <a:srgbClr val="0D6CB9"/>
              </a:solidFill>
              <a:effectLst/>
              <a:uLnTx/>
              <a:uFillTx/>
              <a:latin typeface="Calibri"/>
              <a:cs typeface="Calibri"/>
            </a:rPr>
            <a:t>in conjunction </a:t>
          </a:r>
          <a:r>
            <a:rPr kumimoji="0" lang="en-US" sz="2000" b="0" i="0" u="none" strike="noStrike" kern="1200" cap="none" spc="0" normalizeH="0" baseline="0" noProof="0">
              <a:ln>
                <a:noFill/>
              </a:ln>
              <a:solidFill>
                <a:srgbClr val="0D6CB9"/>
              </a:solidFill>
              <a:effectLst/>
              <a:uLnTx/>
              <a:uFillTx/>
              <a:latin typeface="Calibri"/>
              <a:cs typeface="Calibri"/>
            </a:rPr>
            <a:t>with the student’s LPAC. </a:t>
          </a:r>
          <a:endParaRPr lang="en-US" sz="2000" kern="1200">
            <a:solidFill>
              <a:srgbClr val="0D6CB9"/>
            </a:solidFill>
          </a:endParaRPr>
        </a:p>
      </dsp:txBody>
      <dsp:txXfrm>
        <a:off x="51301" y="1447432"/>
        <a:ext cx="5497570" cy="1648944"/>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0" y="0"/>
          <a:ext cx="11679382" cy="1119886"/>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solidFill>
                <a:schemeClr val="bg1"/>
              </a:solidFill>
            </a:rPr>
            <a:t>Spelling Assistance </a:t>
          </a:r>
          <a:r>
            <a:rPr lang="en-US" sz="2000" b="0" kern="1200">
              <a:solidFill>
                <a:schemeClr val="bg1"/>
              </a:solidFill>
            </a:rPr>
            <a:t>(continued):</a:t>
          </a:r>
        </a:p>
      </dsp:txBody>
      <dsp:txXfrm>
        <a:off x="32800" y="32800"/>
        <a:ext cx="11613782" cy="1054286"/>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8622" y="0"/>
          <a:ext cx="11670759" cy="1115787"/>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solidFill>
                <a:schemeClr val="bg1"/>
              </a:solidFill>
            </a:rPr>
            <a:t>Supplemental Aids </a:t>
          </a:r>
          <a:r>
            <a:rPr lang="en-US" sz="2000" b="0" i="0" kern="1200"/>
            <a:t>allow a student to use paper-based resources that assist in recalling information. A student may use this designated support if that student routinely, independently, and effectively uses it during classroom instruction and classroom testing. </a:t>
          </a:r>
          <a:endParaRPr lang="en-US" sz="2000" b="0" kern="1200">
            <a:solidFill>
              <a:schemeClr val="bg1"/>
            </a:solidFill>
          </a:endParaRPr>
        </a:p>
      </dsp:txBody>
      <dsp:txXfrm>
        <a:off x="41302" y="32680"/>
        <a:ext cx="11605399" cy="1050427"/>
      </dsp:txXfrm>
    </dsp:sp>
    <dsp:sp modelId="{958FB0CF-2EA0-4CFE-9283-F26E975A5CDB}">
      <dsp:nvSpPr>
        <dsp:cNvPr id="0" name=""/>
        <dsp:cNvSpPr/>
      </dsp:nvSpPr>
      <dsp:spPr>
        <a:xfrm>
          <a:off x="6079209" y="3313584"/>
          <a:ext cx="5600172" cy="175154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Clr>
              <a:srgbClr val="FF8134"/>
            </a:buClr>
            <a:buSzTx/>
            <a:buFont typeface="Wingdings" panose="05000000000000000000" pitchFamily="2" charset="2"/>
            <a:buNone/>
          </a:pPr>
          <a:r>
            <a:rPr kumimoji="0" lang="en-US" sz="2000" b="0" i="0" u="none" strike="noStrike" kern="1200" cap="none" spc="0" normalizeH="0" baseline="0" noProof="0">
              <a:ln>
                <a:noFill/>
              </a:ln>
              <a:solidFill>
                <a:schemeClr val="tx1"/>
              </a:solidFill>
              <a:effectLst/>
              <a:uLnTx/>
              <a:uFillTx/>
              <a:latin typeface="Calibri"/>
              <a:cs typeface="Calibri"/>
            </a:rPr>
            <a:t> </a:t>
          </a:r>
          <a:r>
            <a:rPr lang="en-US" sz="2000" b="0" i="0" kern="1200">
              <a:solidFill>
                <a:srgbClr val="0D6CB9"/>
              </a:solidFill>
            </a:rPr>
            <a:t>If a student writes on the supplemental aid while taking the state assessment, the supplemental aid must be destroyed after testing.</a:t>
          </a:r>
          <a:endParaRPr kumimoji="0" lang="en-US" sz="2000" b="0" i="0" u="none" strike="noStrike" kern="1200" cap="none" spc="0" normalizeH="0" baseline="0" noProof="0">
            <a:ln>
              <a:noFill/>
            </a:ln>
            <a:solidFill>
              <a:srgbClr val="0D6CB9"/>
            </a:solidFill>
            <a:effectLst/>
            <a:uLnTx/>
            <a:uFillTx/>
            <a:latin typeface="Calibri"/>
            <a:cs typeface="Calibri"/>
          </a:endParaRPr>
        </a:p>
      </dsp:txBody>
      <dsp:txXfrm>
        <a:off x="6130510" y="3364885"/>
        <a:ext cx="5497570" cy="1648944"/>
      </dsp:txXfrm>
    </dsp:sp>
    <dsp:sp modelId="{D860588E-36D3-4090-A8EF-DA2D6AF23FE0}">
      <dsp:nvSpPr>
        <dsp:cNvPr id="0" name=""/>
        <dsp:cNvSpPr/>
      </dsp:nvSpPr>
      <dsp:spPr>
        <a:xfrm>
          <a:off x="4311" y="3320573"/>
          <a:ext cx="5600172" cy="175154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solidFill>
                <a:srgbClr val="0D6CB9"/>
              </a:solidFill>
            </a:rPr>
            <a:t>Supplemental aids should be individualized for each student. Students have different strengths and needs, so it is not appropriate to provide all students the exact same set of supplemental aids.</a:t>
          </a:r>
          <a:endParaRPr lang="en-US" sz="2000" b="0" kern="1200">
            <a:solidFill>
              <a:srgbClr val="0D6CB9"/>
            </a:solidFill>
          </a:endParaRPr>
        </a:p>
      </dsp:txBody>
      <dsp:txXfrm>
        <a:off x="55612" y="3371874"/>
        <a:ext cx="5497570" cy="1648944"/>
      </dsp:txXfrm>
    </dsp:sp>
    <dsp:sp modelId="{30FF46CB-5EE4-404F-B592-88A5EB36026F}">
      <dsp:nvSpPr>
        <dsp:cNvPr id="0" name=""/>
        <dsp:cNvSpPr/>
      </dsp:nvSpPr>
      <dsp:spPr>
        <a:xfrm>
          <a:off x="6074898" y="1343240"/>
          <a:ext cx="5600172" cy="175154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solidFill>
                <a:srgbClr val="0D6CB9"/>
              </a:solidFill>
            </a:rPr>
            <a:t>It is not necessary to conceal or remove instructional or reference materials in the testing area, the classroom, or hallways unless they could assist a student with answering questions on the subject-area assessment being administered</a:t>
          </a:r>
          <a:r>
            <a:rPr lang="en-US" sz="1600" b="0" i="0" kern="1200">
              <a:solidFill>
                <a:srgbClr val="0D6CB9"/>
              </a:solidFill>
            </a:rPr>
            <a:t>. </a:t>
          </a:r>
          <a:endParaRPr lang="en-US" sz="1600" kern="1200">
            <a:solidFill>
              <a:srgbClr val="0D6CB9"/>
            </a:solidFill>
          </a:endParaRPr>
        </a:p>
      </dsp:txBody>
      <dsp:txXfrm>
        <a:off x="6126199" y="1394541"/>
        <a:ext cx="5497570" cy="1648944"/>
      </dsp:txXfrm>
    </dsp:sp>
    <dsp:sp modelId="{2595DE9B-56E6-4317-A120-D24001D4CDC3}">
      <dsp:nvSpPr>
        <dsp:cNvPr id="0" name=""/>
        <dsp:cNvSpPr/>
      </dsp:nvSpPr>
      <dsp:spPr>
        <a:xfrm>
          <a:off x="0" y="1396131"/>
          <a:ext cx="5600172" cy="1751546"/>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a:solidFill>
                <a:srgbClr val="0D6CB9"/>
              </a:solidFill>
            </a:rPr>
            <a:t>Supplemental aids can be provided in the language that is most appropriate for the student.</a:t>
          </a:r>
          <a:endParaRPr lang="en-US" sz="2000" kern="1200">
            <a:solidFill>
              <a:srgbClr val="0D6CB9"/>
            </a:solidFill>
          </a:endParaRPr>
        </a:p>
      </dsp:txBody>
      <dsp:txXfrm>
        <a:off x="51301" y="1447432"/>
        <a:ext cx="5497570" cy="1648944"/>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11405" y="0"/>
          <a:ext cx="11667976" cy="842141"/>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b="1" kern="1200">
              <a:solidFill>
                <a:schemeClr val="bg1"/>
              </a:solidFill>
            </a:rPr>
            <a:t>Supplemental Aids </a:t>
          </a:r>
          <a:r>
            <a:rPr lang="en-US" sz="2000" b="0" kern="1200">
              <a:solidFill>
                <a:schemeClr val="bg1"/>
              </a:solidFill>
            </a:rPr>
            <a:t>(continued):</a:t>
          </a:r>
          <a:r>
            <a:rPr lang="en-US" sz="2400" b="0" kern="1200">
              <a:latin typeface="Calibri Light" panose="020F0302020204030204"/>
            </a:rPr>
            <a:t> </a:t>
          </a:r>
          <a:endParaRPr lang="en-US" sz="2400" b="0" kern="1200"/>
        </a:p>
      </dsp:txBody>
      <dsp:txXfrm>
        <a:off x="36070" y="24665"/>
        <a:ext cx="11618646" cy="792811"/>
      </dsp:txXfrm>
    </dsp:sp>
    <dsp:sp modelId="{53026FD3-D35D-4DAF-95CA-E18BFE9F2B31}">
      <dsp:nvSpPr>
        <dsp:cNvPr id="0" name=""/>
        <dsp:cNvSpPr/>
      </dsp:nvSpPr>
      <dsp:spPr>
        <a:xfrm>
          <a:off x="5702" y="910541"/>
          <a:ext cx="11667976" cy="1337642"/>
        </a:xfrm>
        <a:prstGeom prst="roundRect">
          <a:avLst>
            <a:gd name="adj" fmla="val 10000"/>
          </a:avLst>
        </a:prstGeom>
        <a:solidFill>
          <a:schemeClr val="bg1"/>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b="1" i="0" kern="1200">
              <a:solidFill>
                <a:srgbClr val="0D6CB9"/>
              </a:solidFill>
            </a:rPr>
            <a:t>Only </a:t>
          </a:r>
          <a:r>
            <a:rPr lang="en-US" sz="2000" b="0" i="0" kern="1200">
              <a:solidFill>
                <a:srgbClr val="0D6CB9"/>
              </a:solidFill>
            </a:rPr>
            <a:t>the paper-based supplemental aids listed below are allowed on the state assessment.</a:t>
          </a:r>
          <a:r>
            <a:rPr lang="en-US" sz="2000" b="0" i="0" kern="1200">
              <a:solidFill>
                <a:srgbClr val="0D6CB9"/>
              </a:solidFill>
              <a:latin typeface="Calibri Light" panose="020F0302020204030204"/>
            </a:rPr>
            <a:t> </a:t>
          </a:r>
          <a:endParaRPr lang="en-US" sz="2000" b="0" i="0" kern="1200">
            <a:solidFill>
              <a:srgbClr val="0D6CB9"/>
            </a:solidFill>
          </a:endParaRPr>
        </a:p>
        <a:p>
          <a:pPr marL="0" lvl="0" indent="0" algn="l" defTabSz="889000" rtl="0">
            <a:lnSpc>
              <a:spcPct val="90000"/>
            </a:lnSpc>
            <a:spcBef>
              <a:spcPct val="0"/>
            </a:spcBef>
            <a:spcAft>
              <a:spcPct val="35000"/>
            </a:spcAft>
            <a:buNone/>
          </a:pPr>
          <a:r>
            <a:rPr lang="en-US" sz="2000" b="1" i="0" kern="1200">
              <a:solidFill>
                <a:srgbClr val="0D6CB9"/>
              </a:solidFill>
            </a:rPr>
            <a:t>NOTE: </a:t>
          </a:r>
          <a:r>
            <a:rPr lang="en-US" sz="2000" b="0" i="0" kern="1200">
              <a:solidFill>
                <a:srgbClr val="0D6CB9"/>
              </a:solidFill>
            </a:rPr>
            <a:t>TEA cannot make decisions on specific supplemental aids used for an individual student.</a:t>
          </a:r>
        </a:p>
        <a:p>
          <a:pPr marL="0" lvl="0" indent="0" algn="l" defTabSz="889000">
            <a:lnSpc>
              <a:spcPct val="90000"/>
            </a:lnSpc>
            <a:spcBef>
              <a:spcPct val="0"/>
            </a:spcBef>
            <a:spcAft>
              <a:spcPct val="35000"/>
            </a:spcAft>
            <a:buNone/>
          </a:pPr>
          <a:r>
            <a:rPr lang="en-US" sz="2000" b="0" i="0" kern="1200">
              <a:solidFill>
                <a:srgbClr val="0D6CB9"/>
              </a:solidFill>
            </a:rPr>
            <a:t>Examples of allowable and non-allowable supplemental aids are available in the </a:t>
          </a:r>
          <a:r>
            <a:rPr lang="en-US" sz="2000" b="0" i="1" kern="1200">
              <a:solidFill>
                <a:srgbClr val="0D6CB9"/>
              </a:solidFill>
            </a:rPr>
            <a:t>Accommodations Allowable Supplemental Aids</a:t>
          </a:r>
          <a:r>
            <a:rPr lang="en-US" sz="2000" b="0" i="0" kern="1200">
              <a:solidFill>
                <a:srgbClr val="0D6CB9"/>
              </a:solidFill>
            </a:rPr>
            <a:t> training presentation on TEA’s Accommodation Resources webpage.</a:t>
          </a:r>
          <a:endParaRPr lang="en-US" sz="2000" kern="1200">
            <a:solidFill>
              <a:srgbClr val="0D6CB9"/>
            </a:solidFill>
          </a:endParaRPr>
        </a:p>
      </dsp:txBody>
      <dsp:txXfrm>
        <a:off x="44880" y="949719"/>
        <a:ext cx="11589620" cy="125928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9F6DE5-C10E-47FD-824A-44B3CF7A0429}">
      <dsp:nvSpPr>
        <dsp:cNvPr id="0" name=""/>
        <dsp:cNvSpPr/>
      </dsp:nvSpPr>
      <dsp:spPr>
        <a:xfrm rot="10800000">
          <a:off x="1834023" y="370"/>
          <a:ext cx="6420229" cy="867592"/>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2584" tIns="106680" rIns="199136" bIns="106680" numCol="1" spcCol="1270" anchor="ctr" anchorCtr="0">
          <a:noAutofit/>
        </a:bodyPr>
        <a:lstStyle/>
        <a:p>
          <a:pPr marL="0" lvl="0" indent="0" algn="ctr" defTabSz="1244600">
            <a:lnSpc>
              <a:spcPct val="90000"/>
            </a:lnSpc>
            <a:spcBef>
              <a:spcPct val="0"/>
            </a:spcBef>
            <a:spcAft>
              <a:spcPct val="35000"/>
            </a:spcAft>
            <a:buNone/>
          </a:pPr>
          <a:r>
            <a:rPr lang="en-US" sz="2800" b="0" i="0" kern="1200">
              <a:solidFill>
                <a:schemeClr val="bg1"/>
              </a:solidFill>
              <a:effectLst/>
            </a:rPr>
            <a:t>Juvenile Justice Alternative Education </a:t>
          </a:r>
          <a:endParaRPr lang="en-US" sz="2800" kern="1200">
            <a:solidFill>
              <a:schemeClr val="bg1"/>
            </a:solidFill>
          </a:endParaRPr>
        </a:p>
      </dsp:txBody>
      <dsp:txXfrm rot="10800000">
        <a:off x="2050921" y="370"/>
        <a:ext cx="6203331" cy="867592"/>
      </dsp:txXfrm>
    </dsp:sp>
    <dsp:sp modelId="{108D46DC-A417-4D99-B08C-EB3C26C8F441}">
      <dsp:nvSpPr>
        <dsp:cNvPr id="0" name=""/>
        <dsp:cNvSpPr/>
      </dsp:nvSpPr>
      <dsp:spPr>
        <a:xfrm>
          <a:off x="1076146" y="0"/>
          <a:ext cx="867592" cy="867592"/>
        </a:xfrm>
        <a:prstGeom prst="ellipse">
          <a:avLst/>
        </a:prstGeom>
        <a:blipFill>
          <a:blip xmlns:r="http://schemas.openxmlformats.org/officeDocument/2006/relationships" r:embed="rId1">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D999BAFC-F6DF-460B-84DE-7F66B6B17499}">
      <dsp:nvSpPr>
        <dsp:cNvPr id="0" name=""/>
        <dsp:cNvSpPr/>
      </dsp:nvSpPr>
      <dsp:spPr>
        <a:xfrm rot="10800000">
          <a:off x="1795694" y="1084861"/>
          <a:ext cx="6420229" cy="867592"/>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2584" tIns="106680" rIns="199136" bIns="106680" numCol="1" spcCol="1270" anchor="ctr" anchorCtr="0">
          <a:noAutofit/>
        </a:bodyPr>
        <a:lstStyle/>
        <a:p>
          <a:pPr marL="0" lvl="0" indent="0" algn="ctr" defTabSz="1244600">
            <a:lnSpc>
              <a:spcPct val="90000"/>
            </a:lnSpc>
            <a:spcBef>
              <a:spcPct val="0"/>
            </a:spcBef>
            <a:spcAft>
              <a:spcPct val="35000"/>
            </a:spcAft>
            <a:buNone/>
          </a:pPr>
          <a:r>
            <a:rPr lang="en-US" sz="2800" kern="1200">
              <a:solidFill>
                <a:schemeClr val="bg1"/>
              </a:solidFill>
              <a:effectLst/>
            </a:rPr>
            <a:t>Homebound Student Without Internet</a:t>
          </a:r>
          <a:endParaRPr lang="en-US" sz="2800" kern="1200">
            <a:solidFill>
              <a:schemeClr val="bg1"/>
            </a:solidFill>
          </a:endParaRPr>
        </a:p>
      </dsp:txBody>
      <dsp:txXfrm rot="10800000">
        <a:off x="2012592" y="1084861"/>
        <a:ext cx="6203331" cy="867592"/>
      </dsp:txXfrm>
    </dsp:sp>
    <dsp:sp modelId="{BC927F3D-9FCB-456C-80AC-72965B28E00F}">
      <dsp:nvSpPr>
        <dsp:cNvPr id="0" name=""/>
        <dsp:cNvSpPr/>
      </dsp:nvSpPr>
      <dsp:spPr>
        <a:xfrm>
          <a:off x="1076146" y="1125507"/>
          <a:ext cx="867592" cy="867592"/>
        </a:xfrm>
        <a:prstGeom prst="ellipse">
          <a:avLst/>
        </a:prstGeom>
        <a:blipFill>
          <a:blip xmlns:r="http://schemas.openxmlformats.org/officeDocument/2006/relationships" r:embed="rId3">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381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F89D9D72-1A76-4228-8AA7-21CD490280BB}">
      <dsp:nvSpPr>
        <dsp:cNvPr id="0" name=""/>
        <dsp:cNvSpPr/>
      </dsp:nvSpPr>
      <dsp:spPr>
        <a:xfrm rot="10800000">
          <a:off x="1834023" y="2169351"/>
          <a:ext cx="6420229" cy="867592"/>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2584" tIns="106680" rIns="199136" bIns="106680" numCol="1" spcCol="1270" anchor="ctr" anchorCtr="0">
          <a:noAutofit/>
        </a:bodyPr>
        <a:lstStyle/>
        <a:p>
          <a:pPr marL="0" lvl="0" indent="0" algn="ctr" defTabSz="1244600">
            <a:lnSpc>
              <a:spcPct val="90000"/>
            </a:lnSpc>
            <a:spcBef>
              <a:spcPct val="0"/>
            </a:spcBef>
            <a:spcAft>
              <a:spcPct val="35000"/>
            </a:spcAft>
            <a:buNone/>
          </a:pPr>
          <a:r>
            <a:rPr lang="en-US" sz="2800" b="0" i="0" kern="1200">
              <a:solidFill>
                <a:schemeClr val="bg1"/>
              </a:solidFill>
              <a:effectLst/>
            </a:rPr>
            <a:t>Emergency Medical Situations </a:t>
          </a:r>
          <a:endParaRPr lang="en-US" sz="2800" kern="1200">
            <a:solidFill>
              <a:schemeClr val="bg1"/>
            </a:solidFill>
          </a:endParaRPr>
        </a:p>
      </dsp:txBody>
      <dsp:txXfrm rot="10800000">
        <a:off x="2050921" y="2169351"/>
        <a:ext cx="6203331" cy="867592"/>
      </dsp:txXfrm>
    </dsp:sp>
    <dsp:sp modelId="{9C7BC514-A902-4BCB-AC1D-03CC6EAAB9F9}">
      <dsp:nvSpPr>
        <dsp:cNvPr id="0" name=""/>
        <dsp:cNvSpPr/>
      </dsp:nvSpPr>
      <dsp:spPr>
        <a:xfrm>
          <a:off x="1076146" y="2169722"/>
          <a:ext cx="867592" cy="867592"/>
        </a:xfrm>
        <a:prstGeom prst="ellipse">
          <a:avLst/>
        </a:prstGeom>
        <a:blipFill>
          <a:blip xmlns:r="http://schemas.openxmlformats.org/officeDocument/2006/relationships" r:embed="rId5">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381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2742FE-7329-4DDC-BC71-07253AC9681B}">
      <dsp:nvSpPr>
        <dsp:cNvPr id="0" name=""/>
        <dsp:cNvSpPr/>
      </dsp:nvSpPr>
      <dsp:spPr>
        <a:xfrm>
          <a:off x="0" y="0"/>
          <a:ext cx="11679382" cy="704023"/>
        </a:xfrm>
        <a:prstGeom prst="roundRect">
          <a:avLst>
            <a:gd name="adj" fmla="val 10000"/>
          </a:avLst>
        </a:prstGeom>
        <a:solidFill>
          <a:srgbClr val="F160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1" kern="1200">
              <a:solidFill>
                <a:schemeClr val="bg1"/>
              </a:solidFill>
            </a:rPr>
            <a:t>Supplemental Aids </a:t>
          </a:r>
          <a:r>
            <a:rPr lang="en-US" sz="2000" b="0" kern="1200">
              <a:solidFill>
                <a:schemeClr val="bg1"/>
              </a:solidFill>
            </a:rPr>
            <a:t>(continued): </a:t>
          </a:r>
          <a:endParaRPr lang="en-US" sz="2400" b="0" kern="1200"/>
        </a:p>
      </dsp:txBody>
      <dsp:txXfrm>
        <a:off x="20620" y="20620"/>
        <a:ext cx="11638142" cy="662783"/>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EA403E-F988-4E45-867E-49A376D781BA}">
      <dsp:nvSpPr>
        <dsp:cNvPr id="0" name=""/>
        <dsp:cNvSpPr/>
      </dsp:nvSpPr>
      <dsp:spPr>
        <a:xfrm rot="10800000">
          <a:off x="1820536" y="0"/>
          <a:ext cx="6315076" cy="919586"/>
        </a:xfrm>
        <a:prstGeom prst="homePlate">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5512" tIns="121920" rIns="227584" bIns="121920" numCol="1" spcCol="1270" anchor="ctr" anchorCtr="0">
          <a:noAutofit/>
        </a:bodyPr>
        <a:lstStyle/>
        <a:p>
          <a:pPr marL="0" lvl="0" indent="0" algn="ctr" defTabSz="1422400">
            <a:lnSpc>
              <a:spcPct val="90000"/>
            </a:lnSpc>
            <a:spcBef>
              <a:spcPct val="0"/>
            </a:spcBef>
            <a:spcAft>
              <a:spcPct val="35000"/>
            </a:spcAft>
            <a:buNone/>
          </a:pPr>
          <a:r>
            <a:rPr lang="en-US" sz="3200" kern="1200"/>
            <a:t>Complex Transcribing</a:t>
          </a:r>
        </a:p>
      </dsp:txBody>
      <dsp:txXfrm rot="10800000">
        <a:off x="2050432" y="0"/>
        <a:ext cx="6085180" cy="919586"/>
      </dsp:txXfrm>
    </dsp:sp>
    <dsp:sp modelId="{7300D119-1600-43AD-9D72-F9FFDFFE3AEF}">
      <dsp:nvSpPr>
        <dsp:cNvPr id="0" name=""/>
        <dsp:cNvSpPr/>
      </dsp:nvSpPr>
      <dsp:spPr>
        <a:xfrm>
          <a:off x="1360743" y="0"/>
          <a:ext cx="919586" cy="919586"/>
        </a:xfrm>
        <a:prstGeom prst="ellips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EA403E-F988-4E45-867E-49A376D781BA}">
      <dsp:nvSpPr>
        <dsp:cNvPr id="0" name=""/>
        <dsp:cNvSpPr/>
      </dsp:nvSpPr>
      <dsp:spPr>
        <a:xfrm rot="10800000">
          <a:off x="1820536" y="0"/>
          <a:ext cx="6315076" cy="919586"/>
        </a:xfrm>
        <a:prstGeom prst="homePlate">
          <a:avLst/>
        </a:prstGeom>
        <a:solidFill>
          <a:srgbClr val="1F4E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5512" tIns="121920" rIns="227584" bIns="121920" numCol="1" spcCol="1270" anchor="ctr" anchorCtr="0">
          <a:noAutofit/>
        </a:bodyPr>
        <a:lstStyle/>
        <a:p>
          <a:pPr marL="0" lvl="0" indent="0" algn="ctr" defTabSz="1422400">
            <a:lnSpc>
              <a:spcPct val="90000"/>
            </a:lnSpc>
            <a:spcBef>
              <a:spcPct val="0"/>
            </a:spcBef>
            <a:spcAft>
              <a:spcPct val="35000"/>
            </a:spcAft>
            <a:buNone/>
          </a:pPr>
          <a:r>
            <a:rPr lang="en-US" sz="3200" kern="1200"/>
            <a:t>Mathematics Scribe</a:t>
          </a:r>
        </a:p>
      </dsp:txBody>
      <dsp:txXfrm rot="10800000">
        <a:off x="2050432" y="0"/>
        <a:ext cx="6085180" cy="919586"/>
      </dsp:txXfrm>
    </dsp:sp>
    <dsp:sp modelId="{7300D119-1600-43AD-9D72-F9FFDFFE3AEF}">
      <dsp:nvSpPr>
        <dsp:cNvPr id="0" name=""/>
        <dsp:cNvSpPr/>
      </dsp:nvSpPr>
      <dsp:spPr>
        <a:xfrm>
          <a:off x="1360743" y="0"/>
          <a:ext cx="919586" cy="919586"/>
        </a:xfrm>
        <a:prstGeom prst="ellips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EA403E-F988-4E45-867E-49A376D781BA}">
      <dsp:nvSpPr>
        <dsp:cNvPr id="0" name=""/>
        <dsp:cNvSpPr/>
      </dsp:nvSpPr>
      <dsp:spPr>
        <a:xfrm rot="10800000">
          <a:off x="1820536" y="0"/>
          <a:ext cx="6315076" cy="919586"/>
        </a:xfrm>
        <a:prstGeom prst="homePlate">
          <a:avLst/>
        </a:prstGeom>
        <a:solidFill>
          <a:srgbClr val="1F4E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5512" tIns="121920" rIns="227584" bIns="121920" numCol="1" spcCol="1270" anchor="ctr" anchorCtr="0">
          <a:noAutofit/>
        </a:bodyPr>
        <a:lstStyle/>
        <a:p>
          <a:pPr marL="0" lvl="0" indent="0" algn="ctr" defTabSz="1422400">
            <a:lnSpc>
              <a:spcPct val="90000"/>
            </a:lnSpc>
            <a:spcBef>
              <a:spcPct val="0"/>
            </a:spcBef>
            <a:spcAft>
              <a:spcPct val="35000"/>
            </a:spcAft>
            <a:buNone/>
          </a:pPr>
          <a:r>
            <a:rPr lang="en-US" sz="3200" kern="1200"/>
            <a:t>Extra Day</a:t>
          </a:r>
        </a:p>
      </dsp:txBody>
      <dsp:txXfrm rot="10800000">
        <a:off x="2050432" y="0"/>
        <a:ext cx="6085180" cy="919586"/>
      </dsp:txXfrm>
    </dsp:sp>
    <dsp:sp modelId="{7300D119-1600-43AD-9D72-F9FFDFFE3AEF}">
      <dsp:nvSpPr>
        <dsp:cNvPr id="0" name=""/>
        <dsp:cNvSpPr/>
      </dsp:nvSpPr>
      <dsp:spPr>
        <a:xfrm>
          <a:off x="1360743" y="0"/>
          <a:ext cx="919586" cy="919586"/>
        </a:xfrm>
        <a:prstGeom prst="ellips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EA403E-F988-4E45-867E-49A376D781BA}">
      <dsp:nvSpPr>
        <dsp:cNvPr id="0" name=""/>
        <dsp:cNvSpPr/>
      </dsp:nvSpPr>
      <dsp:spPr>
        <a:xfrm rot="10800000">
          <a:off x="1820536" y="0"/>
          <a:ext cx="6315076" cy="919586"/>
        </a:xfrm>
        <a:prstGeom prst="homePlate">
          <a:avLst/>
        </a:prstGeom>
        <a:solidFill>
          <a:srgbClr val="1F4E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5512" tIns="121920" rIns="227584" bIns="121920" numCol="1" spcCol="1270" anchor="ctr" anchorCtr="0">
          <a:noAutofit/>
        </a:bodyPr>
        <a:lstStyle/>
        <a:p>
          <a:pPr marL="0" lvl="0" indent="0" algn="ctr" defTabSz="1422400">
            <a:lnSpc>
              <a:spcPct val="90000"/>
            </a:lnSpc>
            <a:spcBef>
              <a:spcPct val="0"/>
            </a:spcBef>
            <a:spcAft>
              <a:spcPct val="35000"/>
            </a:spcAft>
            <a:buNone/>
          </a:pPr>
          <a:r>
            <a:rPr lang="en-US" sz="3200" kern="1200"/>
            <a:t>Other</a:t>
          </a:r>
        </a:p>
      </dsp:txBody>
      <dsp:txXfrm rot="10800000">
        <a:off x="2050432" y="0"/>
        <a:ext cx="6085180" cy="919586"/>
      </dsp:txXfrm>
    </dsp:sp>
    <dsp:sp modelId="{7300D119-1600-43AD-9D72-F9FFDFFE3AEF}">
      <dsp:nvSpPr>
        <dsp:cNvPr id="0" name=""/>
        <dsp:cNvSpPr/>
      </dsp:nvSpPr>
      <dsp:spPr>
        <a:xfrm>
          <a:off x="1360743" y="0"/>
          <a:ext cx="919586" cy="919586"/>
        </a:xfrm>
        <a:prstGeom prst="ellipse">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AF59D4-2CA0-47B7-97E7-B7142CD4A61C}">
      <dsp:nvSpPr>
        <dsp:cNvPr id="0" name=""/>
        <dsp:cNvSpPr/>
      </dsp:nvSpPr>
      <dsp:spPr>
        <a:xfrm>
          <a:off x="215027" y="463282"/>
          <a:ext cx="5143581" cy="1607369"/>
        </a:xfrm>
        <a:prstGeom prst="rect">
          <a:avLst/>
        </a:prstGeom>
        <a:solidFill>
          <a:schemeClr val="accent1">
            <a:lumMod val="20000"/>
            <a:lumOff val="80000"/>
            <a:alpha val="40000"/>
          </a:schemeClr>
        </a:solidFill>
        <a:ln w="31750" cap="flat" cmpd="sng" algn="ctr">
          <a:solidFill>
            <a:schemeClr val="accent1"/>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88725"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solidFill>
                <a:srgbClr val="0D6CB9"/>
              </a:solidFill>
            </a:rPr>
            <a:t>Accessibility Features</a:t>
          </a:r>
        </a:p>
      </dsp:txBody>
      <dsp:txXfrm>
        <a:off x="215027" y="463282"/>
        <a:ext cx="5143581" cy="1607369"/>
      </dsp:txXfrm>
    </dsp:sp>
    <dsp:sp modelId="{4E5EE2F1-47BA-448B-8FBE-B39FCD90044C}">
      <dsp:nvSpPr>
        <dsp:cNvPr id="0" name=""/>
        <dsp:cNvSpPr/>
      </dsp:nvSpPr>
      <dsp:spPr>
        <a:xfrm>
          <a:off x="711" y="231106"/>
          <a:ext cx="1125158" cy="1687737"/>
        </a:xfrm>
        <a:prstGeom prst="rect">
          <a:avLst/>
        </a:prstGeom>
        <a:solidFill>
          <a:schemeClr val="accent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84FDB11A-DA73-4E26-A565-D93C833D4CB0}">
      <dsp:nvSpPr>
        <dsp:cNvPr id="0" name=""/>
        <dsp:cNvSpPr/>
      </dsp:nvSpPr>
      <dsp:spPr>
        <a:xfrm>
          <a:off x="5784963" y="463282"/>
          <a:ext cx="5143581" cy="1607369"/>
        </a:xfrm>
        <a:prstGeom prst="rect">
          <a:avLst/>
        </a:prstGeom>
        <a:solidFill>
          <a:schemeClr val="accent2">
            <a:lumMod val="40000"/>
            <a:lumOff val="60000"/>
            <a:alpha val="75000"/>
          </a:schemeClr>
        </a:solidFill>
        <a:ln w="28575" cap="flat" cmpd="sng" algn="ctr">
          <a:solidFill>
            <a:srgbClr val="F16038"/>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88725"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solidFill>
                <a:srgbClr val="0D6CB9"/>
              </a:solidFill>
            </a:rPr>
            <a:t>Locally Approved Designated Supports</a:t>
          </a:r>
        </a:p>
      </dsp:txBody>
      <dsp:txXfrm>
        <a:off x="5784963" y="463282"/>
        <a:ext cx="5143581" cy="1607369"/>
      </dsp:txXfrm>
    </dsp:sp>
    <dsp:sp modelId="{905B416E-FE25-4407-B729-429F2BBB20BF}">
      <dsp:nvSpPr>
        <dsp:cNvPr id="0" name=""/>
        <dsp:cNvSpPr/>
      </dsp:nvSpPr>
      <dsp:spPr>
        <a:xfrm>
          <a:off x="5570647" y="231106"/>
          <a:ext cx="1125158" cy="1687737"/>
        </a:xfrm>
        <a:prstGeom prst="rect">
          <a:avLst/>
        </a:prstGeom>
        <a:solidFill>
          <a:srgbClr val="F16038"/>
        </a:solidFill>
        <a:ln w="12700" cap="flat" cmpd="sng" algn="ctr">
          <a:solidFill>
            <a:srgbClr val="F16038"/>
          </a:solidFill>
          <a:prstDash val="solid"/>
          <a:miter lim="800000"/>
        </a:ln>
        <a:effectLst/>
      </dsp:spPr>
      <dsp:style>
        <a:lnRef idx="2">
          <a:scrgbClr r="0" g="0" b="0"/>
        </a:lnRef>
        <a:fillRef idx="1">
          <a:scrgbClr r="0" g="0" b="0"/>
        </a:fillRef>
        <a:effectRef idx="0">
          <a:scrgbClr r="0" g="0" b="0"/>
        </a:effectRef>
        <a:fontRef idx="minor"/>
      </dsp:style>
    </dsp:sp>
    <dsp:sp modelId="{9A2C8BB3-7A74-43CE-A856-16296EF5752A}">
      <dsp:nvSpPr>
        <dsp:cNvPr id="0" name=""/>
        <dsp:cNvSpPr/>
      </dsp:nvSpPr>
      <dsp:spPr>
        <a:xfrm>
          <a:off x="3047882" y="2391480"/>
          <a:ext cx="5143581" cy="1607369"/>
        </a:xfrm>
        <a:prstGeom prst="rect">
          <a:avLst/>
        </a:prstGeom>
        <a:solidFill>
          <a:schemeClr val="bg1">
            <a:lumMod val="75000"/>
            <a:alpha val="40000"/>
          </a:schemeClr>
        </a:solidFill>
        <a:ln w="31750" cap="flat" cmpd="sng" algn="ctr">
          <a:solidFill>
            <a:schemeClr val="tx2"/>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88725"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solidFill>
                <a:srgbClr val="0D6CB9"/>
              </a:solidFill>
            </a:rPr>
            <a:t>Designated Supports Requiring TEA Approval</a:t>
          </a:r>
        </a:p>
      </dsp:txBody>
      <dsp:txXfrm>
        <a:off x="3047882" y="2391480"/>
        <a:ext cx="5143581" cy="1607369"/>
      </dsp:txXfrm>
    </dsp:sp>
    <dsp:sp modelId="{851707FC-737C-49A5-96D9-4C304B42B08F}">
      <dsp:nvSpPr>
        <dsp:cNvPr id="0" name=""/>
        <dsp:cNvSpPr/>
      </dsp:nvSpPr>
      <dsp:spPr>
        <a:xfrm>
          <a:off x="2785679" y="2254605"/>
          <a:ext cx="1125158" cy="1687737"/>
        </a:xfrm>
        <a:prstGeom prst="rect">
          <a:avLst/>
        </a:prstGeom>
        <a:solidFill>
          <a:schemeClr val="accent6"/>
        </a:solidFill>
        <a:ln w="12700" cap="flat" cmpd="sng" algn="ctr">
          <a:solidFill>
            <a:srgbClr val="0A518B"/>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AF59D4-2CA0-47B7-97E7-B7142CD4A61C}">
      <dsp:nvSpPr>
        <dsp:cNvPr id="0" name=""/>
        <dsp:cNvSpPr/>
      </dsp:nvSpPr>
      <dsp:spPr>
        <a:xfrm>
          <a:off x="1120312" y="133527"/>
          <a:ext cx="4256140" cy="1123746"/>
        </a:xfrm>
        <a:prstGeom prst="rect">
          <a:avLst/>
        </a:prstGeom>
        <a:solidFill>
          <a:schemeClr val="accent1">
            <a:lumMod val="20000"/>
            <a:lumOff val="80000"/>
            <a:alpha val="40000"/>
          </a:schemeClr>
        </a:solidFill>
        <a:ln w="38100" cap="flat" cmpd="sng" algn="ctr">
          <a:solidFill>
            <a:schemeClr val="accent1"/>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1151"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solidFill>
                <a:srgbClr val="0D6CB9"/>
              </a:solidFill>
            </a:rPr>
            <a:t>Accessibility Features Overview</a:t>
          </a:r>
        </a:p>
      </dsp:txBody>
      <dsp:txXfrm>
        <a:off x="1120312" y="133527"/>
        <a:ext cx="4256140" cy="1123746"/>
      </dsp:txXfrm>
    </dsp:sp>
    <dsp:sp modelId="{4E5EE2F1-47BA-448B-8FBE-B39FCD90044C}">
      <dsp:nvSpPr>
        <dsp:cNvPr id="0" name=""/>
        <dsp:cNvSpPr/>
      </dsp:nvSpPr>
      <dsp:spPr>
        <a:xfrm>
          <a:off x="969544" y="2853"/>
          <a:ext cx="786622" cy="1179933"/>
        </a:xfrm>
        <a:prstGeom prst="rect">
          <a:avLst/>
        </a:prstGeom>
        <a:solidFill>
          <a:srgbClr val="0D6CB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AF59D4-2CA0-47B7-97E7-B7142CD4A61C}">
      <dsp:nvSpPr>
        <dsp:cNvPr id="0" name=""/>
        <dsp:cNvSpPr/>
      </dsp:nvSpPr>
      <dsp:spPr>
        <a:xfrm>
          <a:off x="1120312" y="133527"/>
          <a:ext cx="4256140" cy="1123746"/>
        </a:xfrm>
        <a:prstGeom prst="rect">
          <a:avLst/>
        </a:prstGeom>
        <a:solidFill>
          <a:schemeClr val="accent1">
            <a:lumMod val="20000"/>
            <a:lumOff val="80000"/>
            <a:alpha val="40000"/>
          </a:schemeClr>
        </a:solidFill>
        <a:ln w="38100" cap="flat" cmpd="sng" algn="ctr">
          <a:solidFill>
            <a:schemeClr val="accent1"/>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1151"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kern="1200">
              <a:solidFill>
                <a:srgbClr val="0D6CB9"/>
              </a:solidFill>
            </a:rPr>
            <a:t>Accessibility Features Overview</a:t>
          </a:r>
        </a:p>
      </dsp:txBody>
      <dsp:txXfrm>
        <a:off x="1120312" y="133527"/>
        <a:ext cx="4256140" cy="1123746"/>
      </dsp:txXfrm>
    </dsp:sp>
    <dsp:sp modelId="{4E5EE2F1-47BA-448B-8FBE-B39FCD90044C}">
      <dsp:nvSpPr>
        <dsp:cNvPr id="0" name=""/>
        <dsp:cNvSpPr/>
      </dsp:nvSpPr>
      <dsp:spPr>
        <a:xfrm>
          <a:off x="969544" y="2853"/>
          <a:ext cx="786622" cy="1179933"/>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70BC85-1860-4E2A-8A09-B273F5B15BB7}">
      <dsp:nvSpPr>
        <dsp:cNvPr id="0" name=""/>
        <dsp:cNvSpPr/>
      </dsp:nvSpPr>
      <dsp:spPr>
        <a:xfrm>
          <a:off x="0" y="373295"/>
          <a:ext cx="11606619" cy="883575"/>
        </a:xfrm>
        <a:prstGeom prst="rect">
          <a:avLst/>
        </a:prstGeom>
        <a:solidFill>
          <a:schemeClr val="lt1">
            <a:alpha val="9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0803" tIns="458216" rIns="900803" bIns="142240" numCol="1" spcCol="1270" anchor="t" anchorCtr="0">
          <a:noAutofit/>
        </a:bodyPr>
        <a:lstStyle/>
        <a:p>
          <a:pPr marL="228600" lvl="1" indent="-228600" algn="l" defTabSz="889000">
            <a:lnSpc>
              <a:spcPct val="90000"/>
            </a:lnSpc>
            <a:spcBef>
              <a:spcPct val="0"/>
            </a:spcBef>
            <a:spcAft>
              <a:spcPct val="15000"/>
            </a:spcAft>
            <a:buClr>
              <a:srgbClr val="F16038"/>
            </a:buClr>
            <a:buFont typeface="Wingdings" panose="05000000000000000000" pitchFamily="2" charset="2"/>
            <a:buChar char="§"/>
          </a:pPr>
          <a:r>
            <a:rPr lang="en-US" sz="2000" kern="1200">
              <a:solidFill>
                <a:srgbClr val="0D6CB9"/>
              </a:solidFill>
            </a:rPr>
            <a:t>e.g., speakers, frequency-modulated [FM] systems</a:t>
          </a:r>
        </a:p>
      </dsp:txBody>
      <dsp:txXfrm>
        <a:off x="0" y="373295"/>
        <a:ext cx="11606619" cy="883575"/>
      </dsp:txXfrm>
    </dsp:sp>
    <dsp:sp modelId="{A5D32434-C32E-4028-8295-DCF5FB37BE53}">
      <dsp:nvSpPr>
        <dsp:cNvPr id="0" name=""/>
        <dsp:cNvSpPr/>
      </dsp:nvSpPr>
      <dsp:spPr>
        <a:xfrm>
          <a:off x="580330" y="48575"/>
          <a:ext cx="8137063" cy="649440"/>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a:lnSpc>
              <a:spcPct val="90000"/>
            </a:lnSpc>
            <a:spcBef>
              <a:spcPct val="0"/>
            </a:spcBef>
            <a:spcAft>
              <a:spcPct val="35000"/>
            </a:spcAft>
            <a:buNone/>
          </a:pPr>
          <a:r>
            <a:rPr lang="en-US" sz="2000" kern="1200"/>
            <a:t>Amplification Devices</a:t>
          </a:r>
        </a:p>
      </dsp:txBody>
      <dsp:txXfrm>
        <a:off x="612033" y="80278"/>
        <a:ext cx="8073657" cy="586034"/>
      </dsp:txXfrm>
    </dsp:sp>
    <dsp:sp modelId="{E9078F77-9050-400F-AAC9-B9946A189D97}">
      <dsp:nvSpPr>
        <dsp:cNvPr id="0" name=""/>
        <dsp:cNvSpPr/>
      </dsp:nvSpPr>
      <dsp:spPr>
        <a:xfrm>
          <a:off x="0" y="1700390"/>
          <a:ext cx="11606619" cy="1178100"/>
        </a:xfrm>
        <a:prstGeom prst="rect">
          <a:avLst/>
        </a:prstGeom>
        <a:solidFill>
          <a:schemeClr val="lt1">
            <a:alpha val="90000"/>
            <a:hueOff val="0"/>
            <a:satOff val="0"/>
            <a:lumOff val="0"/>
            <a:alphaOff val="0"/>
          </a:schemeClr>
        </a:solidFill>
        <a:ln w="12700" cap="flat" cmpd="sng" algn="ctr">
          <a:solidFill>
            <a:schemeClr val="accent1">
              <a:shade val="50000"/>
              <a:hueOff val="392381"/>
              <a:satOff val="-26834"/>
              <a:lumOff val="2526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0803" tIns="458216" rIns="900803" bIns="142240" numCol="1" spcCol="1270" anchor="t" anchorCtr="0">
          <a:noAutofit/>
        </a:bodyPr>
        <a:lstStyle/>
        <a:p>
          <a:pPr marL="228600" lvl="1" indent="-228600" algn="l" defTabSz="889000">
            <a:lnSpc>
              <a:spcPct val="90000"/>
            </a:lnSpc>
            <a:spcBef>
              <a:spcPct val="0"/>
            </a:spcBef>
            <a:spcAft>
              <a:spcPct val="15000"/>
            </a:spcAft>
            <a:buClr>
              <a:srgbClr val="F16038"/>
            </a:buClr>
            <a:buFont typeface="Wingdings" panose="05000000000000000000" pitchFamily="2" charset="2"/>
            <a:buChar char="§"/>
          </a:pPr>
          <a:r>
            <a:rPr lang="en-US" sz="2000" b="0" i="0" kern="1200">
              <a:solidFill>
                <a:srgbClr val="0D6CB9"/>
              </a:solidFill>
            </a:rPr>
            <a:t>on STAAR mathematics, science, and social studies assessments (word-to-word translations; no definitions or examples; no applications on tablets or other devices)</a:t>
          </a:r>
          <a:endParaRPr lang="en-US" sz="1600" kern="1200">
            <a:solidFill>
              <a:srgbClr val="0D6CB9"/>
            </a:solidFill>
          </a:endParaRPr>
        </a:p>
      </dsp:txBody>
      <dsp:txXfrm>
        <a:off x="0" y="1700390"/>
        <a:ext cx="11606619" cy="1178100"/>
      </dsp:txXfrm>
    </dsp:sp>
    <dsp:sp modelId="{2C52ED92-EE03-4A82-ADBD-1803867D9FFD}">
      <dsp:nvSpPr>
        <dsp:cNvPr id="0" name=""/>
        <dsp:cNvSpPr/>
      </dsp:nvSpPr>
      <dsp:spPr>
        <a:xfrm>
          <a:off x="580330" y="1375670"/>
          <a:ext cx="8124633" cy="649440"/>
        </a:xfrm>
        <a:prstGeom prst="roundRect">
          <a:avLst/>
        </a:prstGeom>
        <a:solidFill>
          <a:schemeClr val="accent1">
            <a:shade val="50000"/>
            <a:hueOff val="392381"/>
            <a:satOff val="-26834"/>
            <a:lumOff val="252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a:lnSpc>
              <a:spcPct val="90000"/>
            </a:lnSpc>
            <a:spcBef>
              <a:spcPct val="0"/>
            </a:spcBef>
            <a:spcAft>
              <a:spcPct val="35000"/>
            </a:spcAft>
            <a:buNone/>
          </a:pPr>
          <a:r>
            <a:rPr lang="en-US" sz="2000" kern="1200"/>
            <a:t>Bilingual Dictionary</a:t>
          </a:r>
        </a:p>
      </dsp:txBody>
      <dsp:txXfrm>
        <a:off x="612033" y="1407373"/>
        <a:ext cx="8061227" cy="586034"/>
      </dsp:txXfrm>
    </dsp:sp>
    <dsp:sp modelId="{08793761-CA96-4351-96EC-BF52FBFA0F03}">
      <dsp:nvSpPr>
        <dsp:cNvPr id="0" name=""/>
        <dsp:cNvSpPr/>
      </dsp:nvSpPr>
      <dsp:spPr>
        <a:xfrm>
          <a:off x="0" y="3322010"/>
          <a:ext cx="11606619" cy="554400"/>
        </a:xfrm>
        <a:prstGeom prst="rect">
          <a:avLst/>
        </a:prstGeom>
        <a:solidFill>
          <a:schemeClr val="lt1">
            <a:alpha val="90000"/>
            <a:hueOff val="0"/>
            <a:satOff val="0"/>
            <a:lumOff val="0"/>
            <a:alphaOff val="0"/>
          </a:schemeClr>
        </a:solidFill>
        <a:ln w="12700" cap="flat" cmpd="sng" algn="ctr">
          <a:solidFill>
            <a:schemeClr val="accent1">
              <a:shade val="50000"/>
              <a:hueOff val="784762"/>
              <a:satOff val="-53669"/>
              <a:lumOff val="50531"/>
              <a:alphaOff val="0"/>
            </a:schemeClr>
          </a:solidFill>
          <a:prstDash val="solid"/>
          <a:miter lim="800000"/>
        </a:ln>
        <a:effectLst/>
      </dsp:spPr>
      <dsp:style>
        <a:lnRef idx="2">
          <a:scrgbClr r="0" g="0" b="0"/>
        </a:lnRef>
        <a:fillRef idx="1">
          <a:scrgbClr r="0" g="0" b="0"/>
        </a:fillRef>
        <a:effectRef idx="0">
          <a:scrgbClr r="0" g="0" b="0"/>
        </a:effectRef>
        <a:fontRef idx="minor"/>
      </dsp:style>
    </dsp:sp>
    <dsp:sp modelId="{027A7B86-E5C2-4A75-99CA-8747D3A07731}">
      <dsp:nvSpPr>
        <dsp:cNvPr id="0" name=""/>
        <dsp:cNvSpPr/>
      </dsp:nvSpPr>
      <dsp:spPr>
        <a:xfrm>
          <a:off x="580330" y="2997290"/>
          <a:ext cx="8124633" cy="649440"/>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Color Overlay or Color Setting for Online Test</a:t>
          </a:r>
          <a:r>
            <a:rPr lang="en-US" sz="2000" kern="1200">
              <a:latin typeface="Calibri Light" panose="020F0302020204030204"/>
            </a:rPr>
            <a:t> </a:t>
          </a:r>
        </a:p>
      </dsp:txBody>
      <dsp:txXfrm>
        <a:off x="612033" y="3028993"/>
        <a:ext cx="8061227" cy="586034"/>
      </dsp:txXfrm>
    </dsp:sp>
    <dsp:sp modelId="{6E4B855F-16AD-4CBB-98F3-6E330AF0D194}">
      <dsp:nvSpPr>
        <dsp:cNvPr id="0" name=""/>
        <dsp:cNvSpPr/>
      </dsp:nvSpPr>
      <dsp:spPr>
        <a:xfrm>
          <a:off x="0" y="4319930"/>
          <a:ext cx="11606619" cy="554400"/>
        </a:xfrm>
        <a:prstGeom prst="rect">
          <a:avLst/>
        </a:prstGeom>
        <a:solidFill>
          <a:schemeClr val="lt1">
            <a:alpha val="90000"/>
            <a:hueOff val="0"/>
            <a:satOff val="0"/>
            <a:lumOff val="0"/>
            <a:alphaOff val="0"/>
          </a:schemeClr>
        </a:solidFill>
        <a:ln w="12700" cap="flat" cmpd="sng" algn="ctr">
          <a:solidFill>
            <a:schemeClr val="accent1">
              <a:shade val="50000"/>
              <a:hueOff val="392381"/>
              <a:satOff val="-26834"/>
              <a:lumOff val="25266"/>
              <a:alphaOff val="0"/>
            </a:schemeClr>
          </a:solidFill>
          <a:prstDash val="solid"/>
          <a:miter lim="800000"/>
        </a:ln>
        <a:effectLst/>
      </dsp:spPr>
      <dsp:style>
        <a:lnRef idx="2">
          <a:scrgbClr r="0" g="0" b="0"/>
        </a:lnRef>
        <a:fillRef idx="1">
          <a:scrgbClr r="0" g="0" b="0"/>
        </a:fillRef>
        <a:effectRef idx="0">
          <a:scrgbClr r="0" g="0" b="0"/>
        </a:effectRef>
        <a:fontRef idx="minor"/>
      </dsp:style>
    </dsp:sp>
    <dsp:sp modelId="{E4AF9104-79FB-4ADD-A13A-3A5D6A4CCF2E}">
      <dsp:nvSpPr>
        <dsp:cNvPr id="0" name=""/>
        <dsp:cNvSpPr/>
      </dsp:nvSpPr>
      <dsp:spPr>
        <a:xfrm>
          <a:off x="580330" y="3995210"/>
          <a:ext cx="8124633" cy="649440"/>
        </a:xfrm>
        <a:prstGeom prst="round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General Reminders to Stay on Task</a:t>
          </a:r>
          <a:r>
            <a:rPr lang="en-US" sz="2000" kern="1200">
              <a:latin typeface="Calibri Light" panose="020F0302020204030204"/>
            </a:rPr>
            <a:t> </a:t>
          </a:r>
          <a:endParaRPr lang="en-US" sz="2000" kern="1200"/>
        </a:p>
      </dsp:txBody>
      <dsp:txXfrm>
        <a:off x="612033" y="4026913"/>
        <a:ext cx="8061227" cy="58603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E3BF1D-5F44-4AB0-BAAA-806A265C9232}">
      <dsp:nvSpPr>
        <dsp:cNvPr id="0" name=""/>
        <dsp:cNvSpPr/>
      </dsp:nvSpPr>
      <dsp:spPr>
        <a:xfrm>
          <a:off x="0" y="553340"/>
          <a:ext cx="11606619" cy="1157625"/>
        </a:xfrm>
        <a:prstGeom prst="rect">
          <a:avLst/>
        </a:prstGeom>
        <a:solidFill>
          <a:schemeClr val="lt1">
            <a:alpha val="9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0803" tIns="728980" rIns="900803" bIns="142240" numCol="1" spcCol="1270" anchor="t" anchorCtr="0">
          <a:noAutofit/>
        </a:bodyPr>
        <a:lstStyle/>
        <a:p>
          <a:pPr marL="228600" lvl="1" indent="-228600" algn="l" defTabSz="889000">
            <a:lnSpc>
              <a:spcPct val="90000"/>
            </a:lnSpc>
            <a:spcBef>
              <a:spcPct val="0"/>
            </a:spcBef>
            <a:spcAft>
              <a:spcPct val="15000"/>
            </a:spcAft>
            <a:buClr>
              <a:srgbClr val="F16038"/>
            </a:buClr>
            <a:buFont typeface="Wingdings" panose="05000000000000000000" pitchFamily="2" charset="2"/>
            <a:buChar char="§"/>
          </a:pPr>
          <a:r>
            <a:rPr lang="en-US" sz="2000" kern="1200">
              <a:solidFill>
                <a:srgbClr val="0D6CB9"/>
              </a:solidFill>
            </a:rPr>
            <a:t>any other tool that can be used to focus attention on text</a:t>
          </a:r>
        </a:p>
      </dsp:txBody>
      <dsp:txXfrm>
        <a:off x="0" y="553340"/>
        <a:ext cx="11606619" cy="1157625"/>
      </dsp:txXfrm>
    </dsp:sp>
    <dsp:sp modelId="{181A1799-AA6A-4E1E-A08B-70CCE6F0AFED}">
      <dsp:nvSpPr>
        <dsp:cNvPr id="0" name=""/>
        <dsp:cNvSpPr/>
      </dsp:nvSpPr>
      <dsp:spPr>
        <a:xfrm>
          <a:off x="580330" y="36740"/>
          <a:ext cx="8124633" cy="1033200"/>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a:lnSpc>
              <a:spcPct val="90000"/>
            </a:lnSpc>
            <a:spcBef>
              <a:spcPct val="0"/>
            </a:spcBef>
            <a:spcAft>
              <a:spcPct val="35000"/>
            </a:spcAft>
            <a:buNone/>
          </a:pPr>
          <a:r>
            <a:rPr lang="en-US" sz="2000" kern="1200"/>
            <a:t>Highlighter (including online tool), Colored Pencils</a:t>
          </a:r>
        </a:p>
      </dsp:txBody>
      <dsp:txXfrm>
        <a:off x="630767" y="87177"/>
        <a:ext cx="8023759" cy="932326"/>
      </dsp:txXfrm>
    </dsp:sp>
    <dsp:sp modelId="{325055E2-CFFF-4CD8-8C76-86A94610B1E0}">
      <dsp:nvSpPr>
        <dsp:cNvPr id="0" name=""/>
        <dsp:cNvSpPr/>
      </dsp:nvSpPr>
      <dsp:spPr>
        <a:xfrm>
          <a:off x="0" y="2416565"/>
          <a:ext cx="11606619" cy="882000"/>
        </a:xfrm>
        <a:prstGeom prst="rect">
          <a:avLst/>
        </a:prstGeom>
        <a:solidFill>
          <a:schemeClr val="lt1">
            <a:alpha val="90000"/>
            <a:hueOff val="0"/>
            <a:satOff val="0"/>
            <a:lumOff val="0"/>
            <a:alphaOff val="0"/>
          </a:schemeClr>
        </a:solidFill>
        <a:ln w="12700" cap="flat" cmpd="sng" algn="ctr">
          <a:solidFill>
            <a:schemeClr val="accent1">
              <a:shade val="50000"/>
              <a:hueOff val="523174"/>
              <a:satOff val="-35779"/>
              <a:lumOff val="33687"/>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06F779-6A6C-492E-9B17-A69573DA1A55}">
      <dsp:nvSpPr>
        <dsp:cNvPr id="0" name=""/>
        <dsp:cNvSpPr/>
      </dsp:nvSpPr>
      <dsp:spPr>
        <a:xfrm>
          <a:off x="580330" y="1899965"/>
          <a:ext cx="8124633" cy="1033200"/>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rtl="0">
            <a:lnSpc>
              <a:spcPct val="90000"/>
            </a:lnSpc>
            <a:spcBef>
              <a:spcPct val="0"/>
            </a:spcBef>
            <a:spcAft>
              <a:spcPct val="35000"/>
            </a:spcAft>
            <a:buNone/>
          </a:pPr>
          <a:r>
            <a:rPr lang="en-US" sz="2000" kern="1200"/>
            <a:t>Individual Administration</a:t>
          </a:r>
          <a:r>
            <a:rPr lang="en-US" sz="2000" kern="1200">
              <a:latin typeface="Calibri Light" panose="020F0302020204030204"/>
            </a:rPr>
            <a:t> </a:t>
          </a:r>
          <a:endParaRPr lang="en-US" sz="2000" kern="1200"/>
        </a:p>
      </dsp:txBody>
      <dsp:txXfrm>
        <a:off x="630767" y="1950402"/>
        <a:ext cx="8023759" cy="932326"/>
      </dsp:txXfrm>
    </dsp:sp>
    <dsp:sp modelId="{0A9BA629-EF65-44F3-A9A3-2B7DEBAC6F1B}">
      <dsp:nvSpPr>
        <dsp:cNvPr id="0" name=""/>
        <dsp:cNvSpPr/>
      </dsp:nvSpPr>
      <dsp:spPr>
        <a:xfrm>
          <a:off x="0" y="4004165"/>
          <a:ext cx="11606619" cy="882000"/>
        </a:xfrm>
        <a:prstGeom prst="rect">
          <a:avLst/>
        </a:prstGeom>
        <a:solidFill>
          <a:schemeClr val="lt1">
            <a:alpha val="90000"/>
            <a:hueOff val="0"/>
            <a:satOff val="0"/>
            <a:lumOff val="0"/>
            <a:alphaOff val="0"/>
          </a:schemeClr>
        </a:solidFill>
        <a:ln w="12700" cap="flat" cmpd="sng" algn="ctr">
          <a:solidFill>
            <a:schemeClr val="accent1">
              <a:shade val="50000"/>
              <a:hueOff val="523174"/>
              <a:satOff val="-35779"/>
              <a:lumOff val="33687"/>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781BA7-6156-4929-A7CB-04200C9AE968}">
      <dsp:nvSpPr>
        <dsp:cNvPr id="0" name=""/>
        <dsp:cNvSpPr/>
      </dsp:nvSpPr>
      <dsp:spPr>
        <a:xfrm>
          <a:off x="580330" y="3487565"/>
          <a:ext cx="8124633" cy="1033200"/>
        </a:xfrm>
        <a:prstGeom prst="roundRect">
          <a:avLst/>
        </a:prstGeom>
        <a:solidFill>
          <a:schemeClr val="accent1">
            <a:shade val="50000"/>
            <a:hueOff val="523174"/>
            <a:satOff val="-35779"/>
            <a:lumOff val="336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7092" tIns="0" rIns="307092" bIns="0" numCol="1" spcCol="1270" anchor="ctr" anchorCtr="0">
          <a:noAutofit/>
        </a:bodyPr>
        <a:lstStyle/>
        <a:p>
          <a:pPr marL="0" lvl="0" indent="0" algn="l" defTabSz="889000">
            <a:lnSpc>
              <a:spcPct val="90000"/>
            </a:lnSpc>
            <a:spcBef>
              <a:spcPct val="0"/>
            </a:spcBef>
            <a:spcAft>
              <a:spcPct val="35000"/>
            </a:spcAft>
            <a:buNone/>
          </a:pPr>
          <a:r>
            <a:rPr lang="en-US" sz="2000" kern="1200"/>
            <a:t>Zoom Tool for Online Assessments and Magnifying Devices</a:t>
          </a:r>
        </a:p>
      </dsp:txBody>
      <dsp:txXfrm>
        <a:off x="630767" y="3538002"/>
        <a:ext cx="8023759" cy="93232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3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B8832D-0219-4F25-9D91-5F27E48842A6}" type="datetimeFigureOut">
              <a:rPr lang="en-US" smtClean="0"/>
              <a:t>10/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9632A-0F8C-4AA9-B10F-AF2884046410}" type="slidenum">
              <a:rPr lang="en-US" smtClean="0"/>
              <a:t>‹#›</a:t>
            </a:fld>
            <a:endParaRPr lang="en-US"/>
          </a:p>
        </p:txBody>
      </p:sp>
    </p:spTree>
    <p:extLst>
      <p:ext uri="{BB962C8B-B14F-4D97-AF65-F5344CB8AC3E}">
        <p14:creationId xmlns:p14="http://schemas.microsoft.com/office/powerpoint/2010/main" val="559605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97764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56264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007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7796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38651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878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97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06775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19160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6226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2478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21708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65778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28197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3362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35302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5921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76641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4313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2951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07044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2425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2191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694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57466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57025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2092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01382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24365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29539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81687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18654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295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72958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39991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82815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97130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52571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0862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457143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54100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68964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402646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52522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45590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20122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53300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1494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86924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05702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79768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736601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440530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8716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93087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855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53630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492254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63537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AAD3CBFD-354F-46A3-BA60-F35C80E67646}" type="slidenum">
              <a:rPr lang="en-US" smtClean="0"/>
              <a:t>82</a:t>
            </a:fld>
            <a:endParaRPr lang="en-US"/>
          </a:p>
        </p:txBody>
      </p:sp>
    </p:spTree>
    <p:extLst>
      <p:ext uri="{BB962C8B-B14F-4D97-AF65-F5344CB8AC3E}">
        <p14:creationId xmlns:p14="http://schemas.microsoft.com/office/powerpoint/2010/main" val="490089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38538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539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545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2502350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4209535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662619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424062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977402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781875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717813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264741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75388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674942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554793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316934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9350547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281773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16/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05158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1775307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0147068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16/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7795731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808373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5702335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7654419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7196241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8101338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57733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DRAFT</a:t>
            </a:r>
          </a:p>
        </p:txBody>
      </p:sp>
    </p:spTree>
    <p:extLst>
      <p:ext uri="{BB962C8B-B14F-4D97-AF65-F5344CB8AC3E}">
        <p14:creationId xmlns:p14="http://schemas.microsoft.com/office/powerpoint/2010/main" val="4016512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04 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BF395-9BF0-014D-8E02-56E67A35071F}"/>
              </a:ext>
            </a:extLst>
          </p:cNvPr>
          <p:cNvSpPr>
            <a:spLocks noGrp="1"/>
          </p:cNvSpPr>
          <p:nvPr>
            <p:ph type="ctrTitle" hasCustomPrompt="1"/>
          </p:nvPr>
        </p:nvSpPr>
        <p:spPr>
          <a:xfrm>
            <a:off x="365760" y="621792"/>
            <a:ext cx="6976872" cy="507675"/>
          </a:xfrm>
          <a:prstGeom prst="rect">
            <a:avLst/>
          </a:prstGeom>
        </p:spPr>
        <p:txBody>
          <a:bodyPr vert="horz" lIns="91440" tIns="45720" rIns="91440" bIns="45720" rtlCol="0" anchor="t">
            <a:noAutofit/>
          </a:bodyPr>
          <a:lstStyle>
            <a:lvl1pPr>
              <a:defRPr lang="en-US" sz="3000" dirty="0">
                <a:solidFill>
                  <a:schemeClr val="bg1"/>
                </a:solidFill>
                <a:latin typeface="Roboto Slab Medium" pitchFamily="2" charset="0"/>
                <a:ea typeface="Roboto Slab Medium" pitchFamily="2" charset="0"/>
              </a:defRPr>
            </a:lvl1pPr>
          </a:lstStyle>
          <a:p>
            <a:pPr marL="0" lvl="0">
              <a:lnSpc>
                <a:spcPts val="3400"/>
              </a:lnSpc>
            </a:pPr>
            <a:r>
              <a:rPr lang="en-US"/>
              <a:t>DTC Webinar Part 1 Objectives</a:t>
            </a:r>
          </a:p>
        </p:txBody>
      </p:sp>
      <p:sp>
        <p:nvSpPr>
          <p:cNvPr id="14" name="Content Placeholder 13">
            <a:extLst>
              <a:ext uri="{FF2B5EF4-FFF2-40B4-BE49-F238E27FC236}">
                <a16:creationId xmlns:a16="http://schemas.microsoft.com/office/drawing/2014/main" id="{134BFCAC-6E44-8240-AD1F-0FD66A835798}"/>
              </a:ext>
            </a:extLst>
          </p:cNvPr>
          <p:cNvSpPr>
            <a:spLocks noGrp="1"/>
          </p:cNvSpPr>
          <p:nvPr>
            <p:ph sz="quarter" idx="11" hasCustomPrompt="1"/>
          </p:nvPr>
        </p:nvSpPr>
        <p:spPr>
          <a:xfrm>
            <a:off x="941747" y="1664749"/>
            <a:ext cx="10678034" cy="4571459"/>
          </a:xfrm>
          <a:prstGeom prst="rect">
            <a:avLst/>
          </a:prstGeom>
        </p:spPr>
        <p:txBody>
          <a:bodyPr/>
          <a:lstStyle>
            <a:lvl1pPr marL="0" indent="0">
              <a:lnSpc>
                <a:spcPct val="120000"/>
              </a:lnSpc>
              <a:spcBef>
                <a:spcPts val="1800"/>
              </a:spcBef>
              <a:spcAft>
                <a:spcPts val="200"/>
              </a:spcAft>
              <a:buNone/>
              <a:defRPr lang="en-US" sz="2300" kern="1200" dirty="0" smtClean="0">
                <a:solidFill>
                  <a:srgbClr val="196CB5"/>
                </a:solidFill>
                <a:latin typeface="Roboto Slab Light" pitchFamily="2" charset="0"/>
                <a:ea typeface="Roboto Slab Light" pitchFamily="2" charset="0"/>
                <a:cs typeface="+mj-cs"/>
              </a:defRPr>
            </a:lvl1pPr>
            <a:lvl2pPr marL="400050" indent="-280988">
              <a:lnSpc>
                <a:spcPct val="120000"/>
              </a:lnSpc>
              <a:spcBef>
                <a:spcPts val="600"/>
              </a:spcBef>
              <a:spcAft>
                <a:spcPts val="600"/>
              </a:spcAft>
              <a:buClr>
                <a:srgbClr val="F26643"/>
              </a:buClr>
              <a:buSzPct val="130000"/>
              <a:buFont typeface="System Font Regular"/>
              <a:buChar char="★"/>
              <a:tabLst/>
              <a:defRPr lang="en-US" sz="15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749300" indent="-230188">
              <a:lnSpc>
                <a:spcPct val="120000"/>
              </a:lnSpc>
              <a:buClr>
                <a:srgbClr val="F36643"/>
              </a:buClr>
              <a:buFont typeface="Courier New" panose="02070309020205020404" pitchFamily="49" charset="0"/>
              <a:buChar char="o"/>
              <a:tabLst/>
              <a:defRPr sz="1000">
                <a:latin typeface="Open Sans" panose="020B0606030504020204" pitchFamily="34" charset="0"/>
                <a:ea typeface="Open Sans" panose="020B0606030504020204" pitchFamily="34" charset="0"/>
                <a:cs typeface="Open Sans" panose="020B0606030504020204" pitchFamily="34" charset="0"/>
              </a:defRPr>
            </a:lvl3pPr>
          </a:lstStyle>
          <a:p>
            <a:pPr lvl="0"/>
            <a:r>
              <a:rPr lang="en-US"/>
              <a:t>By the end of </a:t>
            </a:r>
          </a:p>
          <a:p>
            <a:pPr lvl="1"/>
            <a:r>
              <a:rPr lang="en-US"/>
              <a:t>Understand the tasks DTCs must perform:</a:t>
            </a:r>
          </a:p>
          <a:p>
            <a:pPr lvl="1"/>
            <a:r>
              <a:rPr lang="en-US"/>
              <a:t>Activate your account and access CAI systems;</a:t>
            </a:r>
          </a:p>
          <a:p>
            <a:pPr lvl="1"/>
            <a:r>
              <a:rPr lang="en-US"/>
              <a:t>Navigate the Test Information Distribution Engine (TIDE) interface;</a:t>
            </a:r>
          </a:p>
          <a:p>
            <a:pPr lvl="1"/>
            <a:r>
              <a:rPr lang="en-US"/>
              <a:t>Manage user accounts in TIDE;</a:t>
            </a:r>
          </a:p>
          <a:p>
            <a:pPr lvl="1"/>
            <a:r>
              <a:rPr lang="en-US"/>
              <a:t>Create test sessions in the Test Delivery System (TDS);</a:t>
            </a:r>
          </a:p>
          <a:p>
            <a:pPr lvl="1"/>
            <a:r>
              <a:rPr lang="en-US"/>
              <a:t>Enter student responses in the Data Entry Interface (DEI);</a:t>
            </a:r>
          </a:p>
          <a:p>
            <a:pPr lvl="1"/>
            <a:r>
              <a:rPr lang="en-US"/>
              <a:t>View student results in the Centralized Reporting System (CRS);</a:t>
            </a:r>
          </a:p>
          <a:p>
            <a:pPr lvl="1"/>
            <a:r>
              <a:rPr lang="en-US"/>
              <a:t>Access trainings in the Learning Management System (LMS).</a:t>
            </a:r>
          </a:p>
          <a:p>
            <a:pPr lvl="1"/>
            <a:endParaRPr lang="en-US"/>
          </a:p>
        </p:txBody>
      </p:sp>
    </p:spTree>
    <p:extLst>
      <p:ext uri="{BB962C8B-B14F-4D97-AF65-F5344CB8AC3E}">
        <p14:creationId xmlns:p14="http://schemas.microsoft.com/office/powerpoint/2010/main" val="25770126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5564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 Column (Forma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85130"/>
            <a:ext cx="9939603" cy="962338"/>
          </a:xfrm>
        </p:spPr>
        <p:txBody>
          <a:bodyPr anchor="ctr">
            <a:normAutofit/>
          </a:bodyPr>
          <a:lstStyle>
            <a:lvl1pPr algn="l">
              <a:defRPr sz="3800">
                <a:solidFill>
                  <a:schemeClr val="accent1"/>
                </a:solidFill>
                <a:latin typeface="+mn-lt"/>
              </a:defRPr>
            </a:lvl1pPr>
          </a:lstStyle>
          <a:p>
            <a:r>
              <a:rPr lang="en-US"/>
              <a:t>Title</a:t>
            </a:r>
          </a:p>
        </p:txBody>
      </p:sp>
      <p:sp>
        <p:nvSpPr>
          <p:cNvPr id="15" name="Slide Number Placeholder 5">
            <a:extLst>
              <a:ext uri="{FF2B5EF4-FFF2-40B4-BE49-F238E27FC236}">
                <a16:creationId xmlns:a16="http://schemas.microsoft.com/office/drawing/2014/main" id="{09E267B3-F1CB-40B7-9DB6-9D76B539B5C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7" name="Graphic 6">
            <a:extLst>
              <a:ext uri="{FF2B5EF4-FFF2-40B4-BE49-F238E27FC236}">
                <a16:creationId xmlns:a16="http://schemas.microsoft.com/office/drawing/2014/main" id="{8D88CEE8-FE3F-48AB-8188-5B658D0CD9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
        <p:nvSpPr>
          <p:cNvPr id="8" name="Content Placeholder 2">
            <a:extLst>
              <a:ext uri="{FF2B5EF4-FFF2-40B4-BE49-F238E27FC236}">
                <a16:creationId xmlns:a16="http://schemas.microsoft.com/office/drawing/2014/main" id="{5ACC9B38-75A2-45DB-A418-ED0FE367F845}"/>
              </a:ext>
            </a:extLst>
          </p:cNvPr>
          <p:cNvSpPr>
            <a:spLocks noGrp="1"/>
          </p:cNvSpPr>
          <p:nvPr>
            <p:ph idx="1" hasCustomPrompt="1"/>
          </p:nvPr>
        </p:nvSpPr>
        <p:spPr>
          <a:xfrm>
            <a:off x="438912" y="1438586"/>
            <a:ext cx="11329490" cy="4496686"/>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Tree>
    <p:extLst>
      <p:ext uri="{BB962C8B-B14F-4D97-AF65-F5344CB8AC3E}">
        <p14:creationId xmlns:p14="http://schemas.microsoft.com/office/powerpoint/2010/main" val="11263472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334111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930881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767276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7721825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8810744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376309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6"/>
            </p:custDataLst>
            <p:extLst>
              <p:ext uri="{D42A27DB-BD31-4B8C-83A1-F6EECF244321}">
                <p14:modId xmlns:p14="http://schemas.microsoft.com/office/powerpoint/2010/main" val="285213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84" imgH="385" progId="TCLayout.ActiveDocument.1">
                  <p:embed/>
                </p:oleObj>
              </mc:Choice>
              <mc:Fallback>
                <p:oleObj name="think-cell Slide" r:id="rId38"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2334897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20.sv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20.svg"/></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3.jpeg"/><Relationship Id="rId7" Type="http://schemas.openxmlformats.org/officeDocument/2006/relationships/diagramColors" Target="../diagrams/colors2.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hyperlink" Target="https://texasedu-my.sharepoint.com/personal/rachel_griffin_tea_texas_gov/Documents/Shelly%20Check%20in%209.24.21.docx?web=1" TargetMode="External"/><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33.jpeg"/></Relationships>
</file>

<file path=ppt/slides/_rels/slide2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svg"/><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diagramColors" Target="../diagrams/colors5.xml"/><Relationship Id="rId11" Type="http://schemas.openxmlformats.org/officeDocument/2006/relationships/image" Target="../media/image39.svg"/><Relationship Id="rId5" Type="http://schemas.openxmlformats.org/officeDocument/2006/relationships/diagramQuickStyle" Target="../diagrams/quickStyle5.xml"/><Relationship Id="rId10" Type="http://schemas.openxmlformats.org/officeDocument/2006/relationships/image" Target="../media/image38.png"/><Relationship Id="rId4" Type="http://schemas.openxmlformats.org/officeDocument/2006/relationships/diagramLayout" Target="../diagrams/layout5.xml"/><Relationship Id="rId9" Type="http://schemas.openxmlformats.org/officeDocument/2006/relationships/image" Target="../media/image37.svg"/></Relationships>
</file>

<file path=ppt/slides/_rels/slide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37.svg"/></Relationships>
</file>

<file path=ppt/slides/_rels/slide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 Id="rId9" Type="http://schemas.openxmlformats.org/officeDocument/2006/relationships/image" Target="../media/image37.svg"/></Relationships>
</file>

<file path=ppt/slides/_rels/slide28.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36.png"/><Relationship Id="rId7" Type="http://schemas.openxmlformats.org/officeDocument/2006/relationships/diagramQuickStyle" Target="../diagrams/quickStyle8.xml"/><Relationship Id="rId2" Type="http://schemas.openxmlformats.org/officeDocument/2006/relationships/notesSlide" Target="../notesSlides/notesSlide21.xml"/><Relationship Id="rId1" Type="http://schemas.openxmlformats.org/officeDocument/2006/relationships/slideLayout" Target="../slideLayouts/slideLayout15.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image" Target="../media/image37.svg"/><Relationship Id="rId9" Type="http://schemas.microsoft.com/office/2007/relationships/diagramDrawing" Target="../diagrams/drawing8.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image" Target="../media/image36.png"/><Relationship Id="rId7" Type="http://schemas.openxmlformats.org/officeDocument/2006/relationships/diagramQuickStyle" Target="../diagrams/quickStyle9.xml"/><Relationship Id="rId2" Type="http://schemas.openxmlformats.org/officeDocument/2006/relationships/notesSlide" Target="../notesSlides/notesSlide22.xml"/><Relationship Id="rId1" Type="http://schemas.openxmlformats.org/officeDocument/2006/relationships/slideLayout" Target="../slideLayouts/slideLayout15.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image" Target="../media/image37.svg"/><Relationship Id="rId9" Type="http://schemas.microsoft.com/office/2007/relationships/diagramDrawing" Target="../diagrams/drawing9.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image" Target="../media/image36.png"/><Relationship Id="rId7" Type="http://schemas.openxmlformats.org/officeDocument/2006/relationships/diagramQuickStyle" Target="../diagrams/quickStyle10.xml"/><Relationship Id="rId2" Type="http://schemas.openxmlformats.org/officeDocument/2006/relationships/notesSlide" Target="../notesSlides/notesSlide23.xml"/><Relationship Id="rId1" Type="http://schemas.openxmlformats.org/officeDocument/2006/relationships/slideLayout" Target="../slideLayouts/slideLayout15.x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image" Target="../media/image37.svg"/><Relationship Id="rId9" Type="http://schemas.microsoft.com/office/2007/relationships/diagramDrawing" Target="../diagrams/drawing10.xml"/></Relationships>
</file>

<file path=ppt/slides/_rels/slide31.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image" Target="../media/image36.png"/><Relationship Id="rId7" Type="http://schemas.openxmlformats.org/officeDocument/2006/relationships/diagramQuickStyle" Target="../diagrams/quickStyle11.xml"/><Relationship Id="rId2" Type="http://schemas.openxmlformats.org/officeDocument/2006/relationships/notesSlide" Target="../notesSlides/notesSlide24.xml"/><Relationship Id="rId1" Type="http://schemas.openxmlformats.org/officeDocument/2006/relationships/slideLayout" Target="../slideLayouts/slideLayout15.x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image" Target="../media/image37.svg"/><Relationship Id="rId9" Type="http://schemas.microsoft.com/office/2007/relationships/diagramDrawing" Target="../diagrams/drawing11.xml"/></Relationships>
</file>

<file path=ppt/slides/_rels/slide32.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image" Target="../media/image36.png"/><Relationship Id="rId7" Type="http://schemas.openxmlformats.org/officeDocument/2006/relationships/diagramQuickStyle" Target="../diagrams/quickStyle12.xml"/><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diagramLayout" Target="../diagrams/layout12.xml"/><Relationship Id="rId5" Type="http://schemas.openxmlformats.org/officeDocument/2006/relationships/diagramData" Target="../diagrams/data12.xml"/><Relationship Id="rId4" Type="http://schemas.openxmlformats.org/officeDocument/2006/relationships/image" Target="../media/image37.svg"/><Relationship Id="rId9" Type="http://schemas.microsoft.com/office/2007/relationships/diagramDrawing" Target="../diagrams/drawing12.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15.xml"/><Relationship Id="rId4" Type="http://schemas.openxmlformats.org/officeDocument/2006/relationships/image" Target="../media/image39.svg"/></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15.xml"/><Relationship Id="rId5" Type="http://schemas.openxmlformats.org/officeDocument/2006/relationships/image" Target="../media/image41.png"/><Relationship Id="rId4" Type="http://schemas.openxmlformats.org/officeDocument/2006/relationships/image" Target="../media/image39.svg"/></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image" Target="../media/image36.png"/><Relationship Id="rId7" Type="http://schemas.openxmlformats.org/officeDocument/2006/relationships/diagramQuickStyle" Target="../diagrams/quickStyle13.xml"/><Relationship Id="rId2" Type="http://schemas.openxmlformats.org/officeDocument/2006/relationships/notesSlide" Target="../notesSlides/notesSlide28.xml"/><Relationship Id="rId1" Type="http://schemas.openxmlformats.org/officeDocument/2006/relationships/slideLayout" Target="../slideLayouts/slideLayout15.xml"/><Relationship Id="rId6" Type="http://schemas.openxmlformats.org/officeDocument/2006/relationships/diagramLayout" Target="../diagrams/layout13.xml"/><Relationship Id="rId5" Type="http://schemas.openxmlformats.org/officeDocument/2006/relationships/diagramData" Target="../diagrams/data13.xml"/><Relationship Id="rId10" Type="http://schemas.openxmlformats.org/officeDocument/2006/relationships/image" Target="../media/image42.png"/><Relationship Id="rId4" Type="http://schemas.openxmlformats.org/officeDocument/2006/relationships/image" Target="../media/image37.svg"/><Relationship Id="rId9" Type="http://schemas.microsoft.com/office/2007/relationships/diagramDrawing" Target="../diagrams/drawing13.xml"/></Relationships>
</file>

<file path=ppt/slides/_rels/slide36.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image" Target="../media/image36.png"/><Relationship Id="rId7" Type="http://schemas.openxmlformats.org/officeDocument/2006/relationships/diagramQuickStyle" Target="../diagrams/quickStyle14.xml"/><Relationship Id="rId2" Type="http://schemas.openxmlformats.org/officeDocument/2006/relationships/notesSlide" Target="../notesSlides/notesSlide29.xml"/><Relationship Id="rId1" Type="http://schemas.openxmlformats.org/officeDocument/2006/relationships/slideLayout" Target="../slideLayouts/slideLayout15.xml"/><Relationship Id="rId6" Type="http://schemas.openxmlformats.org/officeDocument/2006/relationships/diagramLayout" Target="../diagrams/layout14.xml"/><Relationship Id="rId5" Type="http://schemas.openxmlformats.org/officeDocument/2006/relationships/diagramData" Target="../diagrams/data14.xml"/><Relationship Id="rId10" Type="http://schemas.openxmlformats.org/officeDocument/2006/relationships/image" Target="../media/image43.png"/><Relationship Id="rId4" Type="http://schemas.openxmlformats.org/officeDocument/2006/relationships/image" Target="../media/image37.svg"/><Relationship Id="rId9" Type="http://schemas.microsoft.com/office/2007/relationships/diagramDrawing" Target="../diagrams/drawing14.xml"/></Relationships>
</file>

<file path=ppt/slides/_rels/slide37.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image" Target="../media/image36.png"/><Relationship Id="rId7" Type="http://schemas.openxmlformats.org/officeDocument/2006/relationships/diagramQuickStyle" Target="../diagrams/quickStyle15.xml"/><Relationship Id="rId2" Type="http://schemas.openxmlformats.org/officeDocument/2006/relationships/notesSlide" Target="../notesSlides/notesSlide30.xml"/><Relationship Id="rId1" Type="http://schemas.openxmlformats.org/officeDocument/2006/relationships/slideLayout" Target="../slideLayouts/slideLayout15.xml"/><Relationship Id="rId6" Type="http://schemas.openxmlformats.org/officeDocument/2006/relationships/diagramLayout" Target="../diagrams/layout15.xml"/><Relationship Id="rId5" Type="http://schemas.openxmlformats.org/officeDocument/2006/relationships/diagramData" Target="../diagrams/data15.xml"/><Relationship Id="rId10" Type="http://schemas.openxmlformats.org/officeDocument/2006/relationships/image" Target="../media/image43.png"/><Relationship Id="rId4" Type="http://schemas.openxmlformats.org/officeDocument/2006/relationships/image" Target="../media/image37.svg"/><Relationship Id="rId9" Type="http://schemas.microsoft.com/office/2007/relationships/diagramDrawing" Target="../diagrams/drawing15.xml"/></Relationships>
</file>

<file path=ppt/slides/_rels/slide38.xml.rels><?xml version="1.0" encoding="UTF-8" standalone="yes"?>
<Relationships xmlns="http://schemas.openxmlformats.org/package/2006/relationships"><Relationship Id="rId8" Type="http://schemas.openxmlformats.org/officeDocument/2006/relationships/diagramColors" Target="../diagrams/colors16.xml"/><Relationship Id="rId3" Type="http://schemas.openxmlformats.org/officeDocument/2006/relationships/image" Target="../media/image36.png"/><Relationship Id="rId7" Type="http://schemas.openxmlformats.org/officeDocument/2006/relationships/diagramQuickStyle" Target="../diagrams/quickStyle16.xml"/><Relationship Id="rId2" Type="http://schemas.openxmlformats.org/officeDocument/2006/relationships/notesSlide" Target="../notesSlides/notesSlide31.xml"/><Relationship Id="rId1" Type="http://schemas.openxmlformats.org/officeDocument/2006/relationships/slideLayout" Target="../slideLayouts/slideLayout15.xml"/><Relationship Id="rId6" Type="http://schemas.openxmlformats.org/officeDocument/2006/relationships/diagramLayout" Target="../diagrams/layout16.xml"/><Relationship Id="rId5" Type="http://schemas.openxmlformats.org/officeDocument/2006/relationships/diagramData" Target="../diagrams/data16.xml"/><Relationship Id="rId10" Type="http://schemas.openxmlformats.org/officeDocument/2006/relationships/image" Target="../media/image43.png"/><Relationship Id="rId4" Type="http://schemas.openxmlformats.org/officeDocument/2006/relationships/image" Target="../media/image37.svg"/><Relationship Id="rId9" Type="http://schemas.microsoft.com/office/2007/relationships/diagramDrawing" Target="../diagrams/drawing16.xml"/></Relationships>
</file>

<file path=ppt/slides/_rels/slide39.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image" Target="../media/image36.png"/><Relationship Id="rId7" Type="http://schemas.openxmlformats.org/officeDocument/2006/relationships/diagramQuickStyle" Target="../diagrams/quickStyle17.xml"/><Relationship Id="rId2" Type="http://schemas.openxmlformats.org/officeDocument/2006/relationships/notesSlide" Target="../notesSlides/notesSlide32.xml"/><Relationship Id="rId1" Type="http://schemas.openxmlformats.org/officeDocument/2006/relationships/slideLayout" Target="../slideLayouts/slideLayout15.xml"/><Relationship Id="rId6" Type="http://schemas.openxmlformats.org/officeDocument/2006/relationships/diagramLayout" Target="../diagrams/layout17.xml"/><Relationship Id="rId5" Type="http://schemas.openxmlformats.org/officeDocument/2006/relationships/diagramData" Target="../diagrams/data17.xml"/><Relationship Id="rId10" Type="http://schemas.openxmlformats.org/officeDocument/2006/relationships/image" Target="../media/image43.png"/><Relationship Id="rId4" Type="http://schemas.openxmlformats.org/officeDocument/2006/relationships/image" Target="../media/image37.svg"/><Relationship Id="rId9" Type="http://schemas.microsoft.com/office/2007/relationships/diagramDrawing" Target="../diagrams/drawing17.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image" Target="../media/image36.png"/><Relationship Id="rId7" Type="http://schemas.openxmlformats.org/officeDocument/2006/relationships/diagramQuickStyle" Target="../diagrams/quickStyle18.xml"/><Relationship Id="rId2" Type="http://schemas.openxmlformats.org/officeDocument/2006/relationships/notesSlide" Target="../notesSlides/notesSlide33.xml"/><Relationship Id="rId1" Type="http://schemas.openxmlformats.org/officeDocument/2006/relationships/slideLayout" Target="../slideLayouts/slideLayout15.xml"/><Relationship Id="rId6" Type="http://schemas.openxmlformats.org/officeDocument/2006/relationships/diagramLayout" Target="../diagrams/layout18.xml"/><Relationship Id="rId5" Type="http://schemas.openxmlformats.org/officeDocument/2006/relationships/diagramData" Target="../diagrams/data18.xml"/><Relationship Id="rId10" Type="http://schemas.openxmlformats.org/officeDocument/2006/relationships/image" Target="../media/image43.png"/><Relationship Id="rId4" Type="http://schemas.openxmlformats.org/officeDocument/2006/relationships/image" Target="../media/image37.svg"/><Relationship Id="rId9" Type="http://schemas.microsoft.com/office/2007/relationships/diagramDrawing" Target="../diagrams/drawing18.xml"/></Relationships>
</file>

<file path=ppt/slides/_rels/slide41.xml.rels><?xml version="1.0" encoding="UTF-8" standalone="yes"?>
<Relationships xmlns="http://schemas.openxmlformats.org/package/2006/relationships"><Relationship Id="rId8" Type="http://schemas.openxmlformats.org/officeDocument/2006/relationships/diagramColors" Target="../diagrams/colors19.xml"/><Relationship Id="rId3" Type="http://schemas.openxmlformats.org/officeDocument/2006/relationships/image" Target="../media/image36.png"/><Relationship Id="rId7" Type="http://schemas.openxmlformats.org/officeDocument/2006/relationships/diagramQuickStyle" Target="../diagrams/quickStyle19.xml"/><Relationship Id="rId2" Type="http://schemas.openxmlformats.org/officeDocument/2006/relationships/notesSlide" Target="../notesSlides/notesSlide34.xml"/><Relationship Id="rId1" Type="http://schemas.openxmlformats.org/officeDocument/2006/relationships/slideLayout" Target="../slideLayouts/slideLayout15.xml"/><Relationship Id="rId6" Type="http://schemas.openxmlformats.org/officeDocument/2006/relationships/diagramLayout" Target="../diagrams/layout19.xml"/><Relationship Id="rId5" Type="http://schemas.openxmlformats.org/officeDocument/2006/relationships/diagramData" Target="../diagrams/data19.xml"/><Relationship Id="rId10" Type="http://schemas.openxmlformats.org/officeDocument/2006/relationships/image" Target="../media/image43.png"/><Relationship Id="rId4" Type="http://schemas.openxmlformats.org/officeDocument/2006/relationships/image" Target="../media/image37.svg"/><Relationship Id="rId9" Type="http://schemas.microsoft.com/office/2007/relationships/diagramDrawing" Target="../diagrams/drawing19.xml"/></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image" Target="../media/image36.png"/><Relationship Id="rId7" Type="http://schemas.openxmlformats.org/officeDocument/2006/relationships/diagramQuickStyle" Target="../diagrams/quickStyle20.xml"/><Relationship Id="rId2" Type="http://schemas.openxmlformats.org/officeDocument/2006/relationships/notesSlide" Target="../notesSlides/notesSlide35.xml"/><Relationship Id="rId1" Type="http://schemas.openxmlformats.org/officeDocument/2006/relationships/slideLayout" Target="../slideLayouts/slideLayout15.xml"/><Relationship Id="rId6" Type="http://schemas.openxmlformats.org/officeDocument/2006/relationships/diagramLayout" Target="../diagrams/layout20.xml"/><Relationship Id="rId5" Type="http://schemas.openxmlformats.org/officeDocument/2006/relationships/diagramData" Target="../diagrams/data20.xml"/><Relationship Id="rId10" Type="http://schemas.openxmlformats.org/officeDocument/2006/relationships/image" Target="../media/image43.png"/><Relationship Id="rId4" Type="http://schemas.openxmlformats.org/officeDocument/2006/relationships/image" Target="../media/image37.svg"/><Relationship Id="rId9" Type="http://schemas.microsoft.com/office/2007/relationships/diagramDrawing" Target="../diagrams/drawing20.xml"/></Relationships>
</file>

<file path=ppt/slides/_rels/slide43.xml.rels><?xml version="1.0" encoding="UTF-8" standalone="yes"?>
<Relationships xmlns="http://schemas.openxmlformats.org/package/2006/relationships"><Relationship Id="rId8" Type="http://schemas.openxmlformats.org/officeDocument/2006/relationships/diagramColors" Target="../diagrams/colors21.xml"/><Relationship Id="rId3" Type="http://schemas.openxmlformats.org/officeDocument/2006/relationships/image" Target="../media/image36.png"/><Relationship Id="rId7" Type="http://schemas.openxmlformats.org/officeDocument/2006/relationships/diagramQuickStyle" Target="../diagrams/quickStyle21.xml"/><Relationship Id="rId2" Type="http://schemas.openxmlformats.org/officeDocument/2006/relationships/notesSlide" Target="../notesSlides/notesSlide36.xml"/><Relationship Id="rId1" Type="http://schemas.openxmlformats.org/officeDocument/2006/relationships/slideLayout" Target="../slideLayouts/slideLayout15.xml"/><Relationship Id="rId6" Type="http://schemas.openxmlformats.org/officeDocument/2006/relationships/diagramLayout" Target="../diagrams/layout21.xml"/><Relationship Id="rId5" Type="http://schemas.openxmlformats.org/officeDocument/2006/relationships/diagramData" Target="../diagrams/data21.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21.xml"/></Relationships>
</file>

<file path=ppt/slides/_rels/slide44.xml.rels><?xml version="1.0" encoding="UTF-8" standalone="yes"?>
<Relationships xmlns="http://schemas.openxmlformats.org/package/2006/relationships"><Relationship Id="rId8" Type="http://schemas.openxmlformats.org/officeDocument/2006/relationships/diagramColors" Target="../diagrams/colors22.xml"/><Relationship Id="rId3" Type="http://schemas.openxmlformats.org/officeDocument/2006/relationships/image" Target="../media/image36.png"/><Relationship Id="rId7" Type="http://schemas.openxmlformats.org/officeDocument/2006/relationships/diagramQuickStyle" Target="../diagrams/quickStyle22.xml"/><Relationship Id="rId2" Type="http://schemas.openxmlformats.org/officeDocument/2006/relationships/notesSlide" Target="../notesSlides/notesSlide37.xml"/><Relationship Id="rId1" Type="http://schemas.openxmlformats.org/officeDocument/2006/relationships/slideLayout" Target="../slideLayouts/slideLayout15.xml"/><Relationship Id="rId6" Type="http://schemas.openxmlformats.org/officeDocument/2006/relationships/diagramLayout" Target="../diagrams/layout22.xml"/><Relationship Id="rId5" Type="http://schemas.openxmlformats.org/officeDocument/2006/relationships/diagramData" Target="../diagrams/data22.xml"/><Relationship Id="rId10" Type="http://schemas.openxmlformats.org/officeDocument/2006/relationships/image" Target="../media/image43.png"/><Relationship Id="rId4" Type="http://schemas.openxmlformats.org/officeDocument/2006/relationships/image" Target="../media/image37.svg"/><Relationship Id="rId9" Type="http://schemas.microsoft.com/office/2007/relationships/diagramDrawing" Target="../diagrams/drawing22.xml"/></Relationships>
</file>

<file path=ppt/slides/_rels/slide45.xml.rels><?xml version="1.0" encoding="UTF-8" standalone="yes"?>
<Relationships xmlns="http://schemas.openxmlformats.org/package/2006/relationships"><Relationship Id="rId8" Type="http://schemas.openxmlformats.org/officeDocument/2006/relationships/diagramColors" Target="../diagrams/colors23.xml"/><Relationship Id="rId3" Type="http://schemas.openxmlformats.org/officeDocument/2006/relationships/image" Target="../media/image36.png"/><Relationship Id="rId7" Type="http://schemas.openxmlformats.org/officeDocument/2006/relationships/diagramQuickStyle" Target="../diagrams/quickStyle23.xml"/><Relationship Id="rId2" Type="http://schemas.openxmlformats.org/officeDocument/2006/relationships/notesSlide" Target="../notesSlides/notesSlide38.xml"/><Relationship Id="rId1" Type="http://schemas.openxmlformats.org/officeDocument/2006/relationships/slideLayout" Target="../slideLayouts/slideLayout15.xml"/><Relationship Id="rId6" Type="http://schemas.openxmlformats.org/officeDocument/2006/relationships/diagramLayout" Target="../diagrams/layout23.xml"/><Relationship Id="rId5" Type="http://schemas.openxmlformats.org/officeDocument/2006/relationships/diagramData" Target="../diagrams/data23.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23.xml"/></Relationships>
</file>

<file path=ppt/slides/_rels/slide46.xml.rels><?xml version="1.0" encoding="UTF-8" standalone="yes"?>
<Relationships xmlns="http://schemas.openxmlformats.org/package/2006/relationships"><Relationship Id="rId8" Type="http://schemas.openxmlformats.org/officeDocument/2006/relationships/diagramColors" Target="../diagrams/colors24.xml"/><Relationship Id="rId3" Type="http://schemas.openxmlformats.org/officeDocument/2006/relationships/image" Target="../media/image36.png"/><Relationship Id="rId7" Type="http://schemas.openxmlformats.org/officeDocument/2006/relationships/diagramQuickStyle" Target="../diagrams/quickStyle24.xml"/><Relationship Id="rId2" Type="http://schemas.openxmlformats.org/officeDocument/2006/relationships/notesSlide" Target="../notesSlides/notesSlide39.xml"/><Relationship Id="rId1" Type="http://schemas.openxmlformats.org/officeDocument/2006/relationships/slideLayout" Target="../slideLayouts/slideLayout15.xml"/><Relationship Id="rId6" Type="http://schemas.openxmlformats.org/officeDocument/2006/relationships/diagramLayout" Target="../diagrams/layout24.xml"/><Relationship Id="rId5" Type="http://schemas.openxmlformats.org/officeDocument/2006/relationships/diagramData" Target="../diagrams/data24.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24.xml"/></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25.xml"/><Relationship Id="rId3" Type="http://schemas.openxmlformats.org/officeDocument/2006/relationships/image" Target="../media/image36.png"/><Relationship Id="rId7" Type="http://schemas.openxmlformats.org/officeDocument/2006/relationships/diagramQuickStyle" Target="../diagrams/quickStyle25.xml"/><Relationship Id="rId2" Type="http://schemas.openxmlformats.org/officeDocument/2006/relationships/notesSlide" Target="../notesSlides/notesSlide40.xml"/><Relationship Id="rId1" Type="http://schemas.openxmlformats.org/officeDocument/2006/relationships/slideLayout" Target="../slideLayouts/slideLayout15.xml"/><Relationship Id="rId6" Type="http://schemas.openxmlformats.org/officeDocument/2006/relationships/diagramLayout" Target="../diagrams/layout25.xml"/><Relationship Id="rId5" Type="http://schemas.openxmlformats.org/officeDocument/2006/relationships/diagramData" Target="../diagrams/data25.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25.xml"/></Relationships>
</file>

<file path=ppt/slides/_rels/slide48.xml.rels><?xml version="1.0" encoding="UTF-8" standalone="yes"?>
<Relationships xmlns="http://schemas.openxmlformats.org/package/2006/relationships"><Relationship Id="rId8" Type="http://schemas.openxmlformats.org/officeDocument/2006/relationships/diagramColors" Target="../diagrams/colors26.xml"/><Relationship Id="rId3" Type="http://schemas.openxmlformats.org/officeDocument/2006/relationships/image" Target="../media/image36.png"/><Relationship Id="rId7" Type="http://schemas.openxmlformats.org/officeDocument/2006/relationships/diagramQuickStyle" Target="../diagrams/quickStyle26.xml"/><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openxmlformats.org/officeDocument/2006/relationships/diagramLayout" Target="../diagrams/layout26.xml"/><Relationship Id="rId5" Type="http://schemas.openxmlformats.org/officeDocument/2006/relationships/diagramData" Target="../diagrams/data26.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26.xml"/></Relationships>
</file>

<file path=ppt/slides/_rels/slide49.xml.rels><?xml version="1.0" encoding="UTF-8" standalone="yes"?>
<Relationships xmlns="http://schemas.openxmlformats.org/package/2006/relationships"><Relationship Id="rId8" Type="http://schemas.openxmlformats.org/officeDocument/2006/relationships/diagramColors" Target="../diagrams/colors27.xml"/><Relationship Id="rId3" Type="http://schemas.openxmlformats.org/officeDocument/2006/relationships/image" Target="../media/image36.png"/><Relationship Id="rId7" Type="http://schemas.openxmlformats.org/officeDocument/2006/relationships/diagramQuickStyle" Target="../diagrams/quickStyle27.xml"/><Relationship Id="rId2" Type="http://schemas.openxmlformats.org/officeDocument/2006/relationships/notesSlide" Target="../notesSlides/notesSlide42.xml"/><Relationship Id="rId1" Type="http://schemas.openxmlformats.org/officeDocument/2006/relationships/slideLayout" Target="../slideLayouts/slideLayout15.xml"/><Relationship Id="rId6" Type="http://schemas.openxmlformats.org/officeDocument/2006/relationships/diagramLayout" Target="../diagrams/layout27.xml"/><Relationship Id="rId5" Type="http://schemas.openxmlformats.org/officeDocument/2006/relationships/diagramData" Target="../diagrams/data27.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27.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8" Type="http://schemas.openxmlformats.org/officeDocument/2006/relationships/diagramColors" Target="../diagrams/colors28.xml"/><Relationship Id="rId3" Type="http://schemas.openxmlformats.org/officeDocument/2006/relationships/image" Target="../media/image36.png"/><Relationship Id="rId7" Type="http://schemas.openxmlformats.org/officeDocument/2006/relationships/diagramQuickStyle" Target="../diagrams/quickStyle28.xml"/><Relationship Id="rId2" Type="http://schemas.openxmlformats.org/officeDocument/2006/relationships/notesSlide" Target="../notesSlides/notesSlide43.xml"/><Relationship Id="rId1" Type="http://schemas.openxmlformats.org/officeDocument/2006/relationships/slideLayout" Target="../slideLayouts/slideLayout15.xml"/><Relationship Id="rId6" Type="http://schemas.openxmlformats.org/officeDocument/2006/relationships/diagramLayout" Target="../diagrams/layout28.xml"/><Relationship Id="rId5" Type="http://schemas.openxmlformats.org/officeDocument/2006/relationships/diagramData" Target="../diagrams/data28.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28.xml"/></Relationships>
</file>

<file path=ppt/slides/_rels/slide51.xml.rels><?xml version="1.0" encoding="UTF-8" standalone="yes"?>
<Relationships xmlns="http://schemas.openxmlformats.org/package/2006/relationships"><Relationship Id="rId8" Type="http://schemas.openxmlformats.org/officeDocument/2006/relationships/diagramColors" Target="../diagrams/colors29.xml"/><Relationship Id="rId3" Type="http://schemas.openxmlformats.org/officeDocument/2006/relationships/image" Target="../media/image36.png"/><Relationship Id="rId7" Type="http://schemas.openxmlformats.org/officeDocument/2006/relationships/diagramQuickStyle" Target="../diagrams/quickStyle29.xml"/><Relationship Id="rId2" Type="http://schemas.openxmlformats.org/officeDocument/2006/relationships/notesSlide" Target="../notesSlides/notesSlide44.xml"/><Relationship Id="rId1" Type="http://schemas.openxmlformats.org/officeDocument/2006/relationships/slideLayout" Target="../slideLayouts/slideLayout15.xml"/><Relationship Id="rId6" Type="http://schemas.openxmlformats.org/officeDocument/2006/relationships/diagramLayout" Target="../diagrams/layout29.xml"/><Relationship Id="rId5" Type="http://schemas.openxmlformats.org/officeDocument/2006/relationships/diagramData" Target="../diagrams/data29.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29.xml"/></Relationships>
</file>

<file path=ppt/slides/_rels/slide52.xml.rels><?xml version="1.0" encoding="UTF-8" standalone="yes"?>
<Relationships xmlns="http://schemas.openxmlformats.org/package/2006/relationships"><Relationship Id="rId8" Type="http://schemas.openxmlformats.org/officeDocument/2006/relationships/diagramColors" Target="../diagrams/colors30.xml"/><Relationship Id="rId3" Type="http://schemas.openxmlformats.org/officeDocument/2006/relationships/image" Target="../media/image36.png"/><Relationship Id="rId7" Type="http://schemas.openxmlformats.org/officeDocument/2006/relationships/diagramQuickStyle" Target="../diagrams/quickStyle30.xml"/><Relationship Id="rId2" Type="http://schemas.openxmlformats.org/officeDocument/2006/relationships/notesSlide" Target="../notesSlides/notesSlide45.xml"/><Relationship Id="rId1" Type="http://schemas.openxmlformats.org/officeDocument/2006/relationships/slideLayout" Target="../slideLayouts/slideLayout15.xml"/><Relationship Id="rId6" Type="http://schemas.openxmlformats.org/officeDocument/2006/relationships/diagramLayout" Target="../diagrams/layout30.xml"/><Relationship Id="rId5" Type="http://schemas.openxmlformats.org/officeDocument/2006/relationships/diagramData" Target="../diagrams/data30.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30.xml"/></Relationships>
</file>

<file path=ppt/slides/_rels/slide53.xml.rels><?xml version="1.0" encoding="UTF-8" standalone="yes"?>
<Relationships xmlns="http://schemas.openxmlformats.org/package/2006/relationships"><Relationship Id="rId8" Type="http://schemas.openxmlformats.org/officeDocument/2006/relationships/diagramColors" Target="../diagrams/colors31.xml"/><Relationship Id="rId3" Type="http://schemas.openxmlformats.org/officeDocument/2006/relationships/image" Target="../media/image36.png"/><Relationship Id="rId7" Type="http://schemas.openxmlformats.org/officeDocument/2006/relationships/diagramQuickStyle" Target="../diagrams/quickStyle31.xml"/><Relationship Id="rId2" Type="http://schemas.openxmlformats.org/officeDocument/2006/relationships/notesSlide" Target="../notesSlides/notesSlide46.xml"/><Relationship Id="rId1" Type="http://schemas.openxmlformats.org/officeDocument/2006/relationships/slideLayout" Target="../slideLayouts/slideLayout15.xml"/><Relationship Id="rId6" Type="http://schemas.openxmlformats.org/officeDocument/2006/relationships/diagramLayout" Target="../diagrams/layout31.xml"/><Relationship Id="rId5" Type="http://schemas.openxmlformats.org/officeDocument/2006/relationships/diagramData" Target="../diagrams/data31.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31.xml"/></Relationships>
</file>

<file path=ppt/slides/_rels/slide54.xml.rels><?xml version="1.0" encoding="UTF-8" standalone="yes"?>
<Relationships xmlns="http://schemas.openxmlformats.org/package/2006/relationships"><Relationship Id="rId8" Type="http://schemas.openxmlformats.org/officeDocument/2006/relationships/diagramColors" Target="../diagrams/colors32.xml"/><Relationship Id="rId3" Type="http://schemas.openxmlformats.org/officeDocument/2006/relationships/image" Target="../media/image36.png"/><Relationship Id="rId7" Type="http://schemas.openxmlformats.org/officeDocument/2006/relationships/diagramQuickStyle" Target="../diagrams/quickStyle32.xml"/><Relationship Id="rId2" Type="http://schemas.openxmlformats.org/officeDocument/2006/relationships/notesSlide" Target="../notesSlides/notesSlide47.xml"/><Relationship Id="rId1" Type="http://schemas.openxmlformats.org/officeDocument/2006/relationships/slideLayout" Target="../slideLayouts/slideLayout15.xml"/><Relationship Id="rId6" Type="http://schemas.openxmlformats.org/officeDocument/2006/relationships/diagramLayout" Target="../diagrams/layout32.xml"/><Relationship Id="rId5" Type="http://schemas.openxmlformats.org/officeDocument/2006/relationships/diagramData" Target="../diagrams/data32.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32.xml"/></Relationships>
</file>

<file path=ppt/slides/_rels/slide55.xml.rels><?xml version="1.0" encoding="UTF-8" standalone="yes"?>
<Relationships xmlns="http://schemas.openxmlformats.org/package/2006/relationships"><Relationship Id="rId8" Type="http://schemas.openxmlformats.org/officeDocument/2006/relationships/diagramColors" Target="../diagrams/colors33.xml"/><Relationship Id="rId3" Type="http://schemas.openxmlformats.org/officeDocument/2006/relationships/image" Target="../media/image36.png"/><Relationship Id="rId7" Type="http://schemas.openxmlformats.org/officeDocument/2006/relationships/diagramQuickStyle" Target="../diagrams/quickStyle33.xml"/><Relationship Id="rId2" Type="http://schemas.openxmlformats.org/officeDocument/2006/relationships/notesSlide" Target="../notesSlides/notesSlide48.xml"/><Relationship Id="rId1" Type="http://schemas.openxmlformats.org/officeDocument/2006/relationships/slideLayout" Target="../slideLayouts/slideLayout15.xml"/><Relationship Id="rId6" Type="http://schemas.openxmlformats.org/officeDocument/2006/relationships/diagramLayout" Target="../diagrams/layout33.xml"/><Relationship Id="rId5" Type="http://schemas.openxmlformats.org/officeDocument/2006/relationships/diagramData" Target="../diagrams/data33.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33.xml"/></Relationships>
</file>

<file path=ppt/slides/_rels/slide5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5.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5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46.svg"/><Relationship Id="rId2" Type="http://schemas.openxmlformats.org/officeDocument/2006/relationships/image" Target="../media/image44.png"/><Relationship Id="rId1" Type="http://schemas.openxmlformats.org/officeDocument/2006/relationships/slideLayout" Target="../slideLayouts/slideLayout15.xml"/><Relationship Id="rId6" Type="http://schemas.openxmlformats.org/officeDocument/2006/relationships/image" Target="../media/image45.png"/><Relationship Id="rId5" Type="http://schemas.openxmlformats.org/officeDocument/2006/relationships/image" Target="../media/image48.svg"/><Relationship Id="rId4" Type="http://schemas.openxmlformats.org/officeDocument/2006/relationships/image" Target="../media/image47.png"/></Relationships>
</file>

<file path=ppt/slides/_rels/slide58.xml.rels><?xml version="1.0" encoding="UTF-8" standalone="yes"?>
<Relationships xmlns="http://schemas.openxmlformats.org/package/2006/relationships"><Relationship Id="rId8" Type="http://schemas.openxmlformats.org/officeDocument/2006/relationships/diagramColors" Target="../diagrams/colors34.xml"/><Relationship Id="rId3" Type="http://schemas.openxmlformats.org/officeDocument/2006/relationships/image" Target="../media/image36.png"/><Relationship Id="rId7" Type="http://schemas.openxmlformats.org/officeDocument/2006/relationships/diagramQuickStyle" Target="../diagrams/quickStyle34.xml"/><Relationship Id="rId2" Type="http://schemas.openxmlformats.org/officeDocument/2006/relationships/notesSlide" Target="../notesSlides/notesSlide49.xml"/><Relationship Id="rId1" Type="http://schemas.openxmlformats.org/officeDocument/2006/relationships/slideLayout" Target="../slideLayouts/slideLayout15.xml"/><Relationship Id="rId6" Type="http://schemas.openxmlformats.org/officeDocument/2006/relationships/diagramLayout" Target="../diagrams/layout34.xml"/><Relationship Id="rId5" Type="http://schemas.openxmlformats.org/officeDocument/2006/relationships/diagramData" Target="../diagrams/data34.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34.xml"/></Relationships>
</file>

<file path=ppt/slides/_rels/slide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17.svg"/></Relationships>
</file>

<file path=ppt/slides/_rels/slide60.xml.rels><?xml version="1.0" encoding="UTF-8" standalone="yes"?>
<Relationships xmlns="http://schemas.openxmlformats.org/package/2006/relationships"><Relationship Id="rId8" Type="http://schemas.openxmlformats.org/officeDocument/2006/relationships/diagramColors" Target="../diagrams/colors35.xml"/><Relationship Id="rId3" Type="http://schemas.openxmlformats.org/officeDocument/2006/relationships/image" Target="../media/image36.png"/><Relationship Id="rId7" Type="http://schemas.openxmlformats.org/officeDocument/2006/relationships/diagramQuickStyle" Target="../diagrams/quickStyle35.xml"/><Relationship Id="rId2" Type="http://schemas.openxmlformats.org/officeDocument/2006/relationships/notesSlide" Target="../notesSlides/notesSlide50.xml"/><Relationship Id="rId1" Type="http://schemas.openxmlformats.org/officeDocument/2006/relationships/slideLayout" Target="../slideLayouts/slideLayout15.xml"/><Relationship Id="rId6" Type="http://schemas.openxmlformats.org/officeDocument/2006/relationships/diagramLayout" Target="../diagrams/layout35.xml"/><Relationship Id="rId5" Type="http://schemas.openxmlformats.org/officeDocument/2006/relationships/diagramData" Target="../diagrams/data35.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35.xml"/></Relationships>
</file>

<file path=ppt/slides/_rels/slide61.xml.rels><?xml version="1.0" encoding="UTF-8" standalone="yes"?>
<Relationships xmlns="http://schemas.openxmlformats.org/package/2006/relationships"><Relationship Id="rId8" Type="http://schemas.openxmlformats.org/officeDocument/2006/relationships/diagramColors" Target="../diagrams/colors36.xml"/><Relationship Id="rId3" Type="http://schemas.openxmlformats.org/officeDocument/2006/relationships/image" Target="../media/image36.png"/><Relationship Id="rId7" Type="http://schemas.openxmlformats.org/officeDocument/2006/relationships/diagramQuickStyle" Target="../diagrams/quickStyle36.xml"/><Relationship Id="rId2" Type="http://schemas.openxmlformats.org/officeDocument/2006/relationships/notesSlide" Target="../notesSlides/notesSlide51.xml"/><Relationship Id="rId1" Type="http://schemas.openxmlformats.org/officeDocument/2006/relationships/slideLayout" Target="../slideLayouts/slideLayout15.xml"/><Relationship Id="rId6" Type="http://schemas.openxmlformats.org/officeDocument/2006/relationships/diagramLayout" Target="../diagrams/layout36.xml"/><Relationship Id="rId5" Type="http://schemas.openxmlformats.org/officeDocument/2006/relationships/diagramData" Target="../diagrams/data36.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36.xml"/></Relationships>
</file>

<file path=ppt/slides/_rels/slide62.xml.rels><?xml version="1.0" encoding="UTF-8" standalone="yes"?>
<Relationships xmlns="http://schemas.openxmlformats.org/package/2006/relationships"><Relationship Id="rId8" Type="http://schemas.openxmlformats.org/officeDocument/2006/relationships/diagramColors" Target="../diagrams/colors37.xml"/><Relationship Id="rId3" Type="http://schemas.openxmlformats.org/officeDocument/2006/relationships/image" Target="../media/image36.png"/><Relationship Id="rId7" Type="http://schemas.openxmlformats.org/officeDocument/2006/relationships/diagramQuickStyle" Target="../diagrams/quickStyle37.xml"/><Relationship Id="rId12" Type="http://schemas.openxmlformats.org/officeDocument/2006/relationships/image" Target="../media/image51.png"/><Relationship Id="rId2" Type="http://schemas.openxmlformats.org/officeDocument/2006/relationships/notesSlide" Target="../notesSlides/notesSlide52.xml"/><Relationship Id="rId1" Type="http://schemas.openxmlformats.org/officeDocument/2006/relationships/slideLayout" Target="../slideLayouts/slideLayout15.xml"/><Relationship Id="rId6" Type="http://schemas.openxmlformats.org/officeDocument/2006/relationships/diagramLayout" Target="../diagrams/layout37.xml"/><Relationship Id="rId11" Type="http://schemas.openxmlformats.org/officeDocument/2006/relationships/image" Target="../media/image50.png"/><Relationship Id="rId5" Type="http://schemas.openxmlformats.org/officeDocument/2006/relationships/diagramData" Target="../diagrams/data37.xml"/><Relationship Id="rId10" Type="http://schemas.openxmlformats.org/officeDocument/2006/relationships/image" Target="../media/image44.png"/><Relationship Id="rId4" Type="http://schemas.openxmlformats.org/officeDocument/2006/relationships/image" Target="../media/image37.svg"/><Relationship Id="rId9" Type="http://schemas.microsoft.com/office/2007/relationships/diagramDrawing" Target="../diagrams/drawing37.xml"/></Relationships>
</file>

<file path=ppt/slides/_rels/slide63.xml.rels><?xml version="1.0" encoding="UTF-8" standalone="yes"?>
<Relationships xmlns="http://schemas.openxmlformats.org/package/2006/relationships"><Relationship Id="rId8" Type="http://schemas.openxmlformats.org/officeDocument/2006/relationships/diagramColors" Target="../diagrams/colors38.xml"/><Relationship Id="rId3" Type="http://schemas.openxmlformats.org/officeDocument/2006/relationships/image" Target="../media/image36.png"/><Relationship Id="rId7" Type="http://schemas.openxmlformats.org/officeDocument/2006/relationships/diagramQuickStyle" Target="../diagrams/quickStyle38.xml"/><Relationship Id="rId2" Type="http://schemas.openxmlformats.org/officeDocument/2006/relationships/notesSlide" Target="../notesSlides/notesSlide53.xml"/><Relationship Id="rId1" Type="http://schemas.openxmlformats.org/officeDocument/2006/relationships/slideLayout" Target="../slideLayouts/slideLayout15.xml"/><Relationship Id="rId6" Type="http://schemas.openxmlformats.org/officeDocument/2006/relationships/diagramLayout" Target="../diagrams/layout38.xml"/><Relationship Id="rId5" Type="http://schemas.openxmlformats.org/officeDocument/2006/relationships/diagramData" Target="../diagrams/data38.xml"/><Relationship Id="rId10" Type="http://schemas.openxmlformats.org/officeDocument/2006/relationships/image" Target="../media/image52.png"/><Relationship Id="rId4" Type="http://schemas.openxmlformats.org/officeDocument/2006/relationships/image" Target="../media/image37.svg"/><Relationship Id="rId9" Type="http://schemas.microsoft.com/office/2007/relationships/diagramDrawing" Target="../diagrams/drawing38.xml"/></Relationships>
</file>

<file path=ppt/slides/_rels/slide64.xml.rels><?xml version="1.0" encoding="UTF-8" standalone="yes"?>
<Relationships xmlns="http://schemas.openxmlformats.org/package/2006/relationships"><Relationship Id="rId8" Type="http://schemas.openxmlformats.org/officeDocument/2006/relationships/diagramColors" Target="../diagrams/colors39.xml"/><Relationship Id="rId3" Type="http://schemas.openxmlformats.org/officeDocument/2006/relationships/image" Target="../media/image36.png"/><Relationship Id="rId7" Type="http://schemas.openxmlformats.org/officeDocument/2006/relationships/diagramQuickStyle" Target="../diagrams/quickStyle39.xml"/><Relationship Id="rId2" Type="http://schemas.openxmlformats.org/officeDocument/2006/relationships/notesSlide" Target="../notesSlides/notesSlide54.xml"/><Relationship Id="rId1" Type="http://schemas.openxmlformats.org/officeDocument/2006/relationships/slideLayout" Target="../slideLayouts/slideLayout15.xml"/><Relationship Id="rId6" Type="http://schemas.openxmlformats.org/officeDocument/2006/relationships/diagramLayout" Target="../diagrams/layout39.xml"/><Relationship Id="rId5" Type="http://schemas.openxmlformats.org/officeDocument/2006/relationships/diagramData" Target="../diagrams/data39.xml"/><Relationship Id="rId10" Type="http://schemas.openxmlformats.org/officeDocument/2006/relationships/image" Target="../media/image52.png"/><Relationship Id="rId4" Type="http://schemas.openxmlformats.org/officeDocument/2006/relationships/image" Target="../media/image37.svg"/><Relationship Id="rId9" Type="http://schemas.microsoft.com/office/2007/relationships/diagramDrawing" Target="../diagrams/drawing39.xml"/></Relationships>
</file>

<file path=ppt/slides/_rels/slide65.xml.rels><?xml version="1.0" encoding="UTF-8" standalone="yes"?>
<Relationships xmlns="http://schemas.openxmlformats.org/package/2006/relationships"><Relationship Id="rId8" Type="http://schemas.openxmlformats.org/officeDocument/2006/relationships/diagramColors" Target="../diagrams/colors40.xml"/><Relationship Id="rId3" Type="http://schemas.openxmlformats.org/officeDocument/2006/relationships/image" Target="../media/image36.png"/><Relationship Id="rId7" Type="http://schemas.openxmlformats.org/officeDocument/2006/relationships/diagramQuickStyle" Target="../diagrams/quickStyle40.xml"/><Relationship Id="rId12" Type="http://schemas.openxmlformats.org/officeDocument/2006/relationships/image" Target="../media/image54.png"/><Relationship Id="rId2" Type="http://schemas.openxmlformats.org/officeDocument/2006/relationships/notesSlide" Target="../notesSlides/notesSlide55.xml"/><Relationship Id="rId1" Type="http://schemas.openxmlformats.org/officeDocument/2006/relationships/slideLayout" Target="../slideLayouts/slideLayout15.xml"/><Relationship Id="rId6" Type="http://schemas.openxmlformats.org/officeDocument/2006/relationships/diagramLayout" Target="../diagrams/layout40.xml"/><Relationship Id="rId11" Type="http://schemas.openxmlformats.org/officeDocument/2006/relationships/image" Target="../media/image52.png"/><Relationship Id="rId5" Type="http://schemas.openxmlformats.org/officeDocument/2006/relationships/diagramData" Target="../diagrams/data40.xml"/><Relationship Id="rId10" Type="http://schemas.openxmlformats.org/officeDocument/2006/relationships/image" Target="../media/image53.png"/><Relationship Id="rId4" Type="http://schemas.openxmlformats.org/officeDocument/2006/relationships/image" Target="../media/image37.svg"/><Relationship Id="rId9" Type="http://schemas.microsoft.com/office/2007/relationships/diagramDrawing" Target="../diagrams/drawing40.xml"/></Relationships>
</file>

<file path=ppt/slides/_rels/slide6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6.xml"/><Relationship Id="rId1" Type="http://schemas.openxmlformats.org/officeDocument/2006/relationships/slideLayout" Target="../slideLayouts/slideLayout15.xml"/><Relationship Id="rId4" Type="http://schemas.openxmlformats.org/officeDocument/2006/relationships/image" Target="../media/image40.svg"/></Relationships>
</file>

<file path=ppt/slides/_rels/slide67.xml.rels><?xml version="1.0" encoding="UTF-8" standalone="yes"?>
<Relationships xmlns="http://schemas.openxmlformats.org/package/2006/relationships"><Relationship Id="rId8" Type="http://schemas.microsoft.com/office/2007/relationships/diagramDrawing" Target="../diagrams/drawing41.xml"/><Relationship Id="rId3" Type="http://schemas.openxmlformats.org/officeDocument/2006/relationships/image" Target="../media/image55.png"/><Relationship Id="rId7" Type="http://schemas.openxmlformats.org/officeDocument/2006/relationships/diagramColors" Target="../diagrams/colors41.xml"/><Relationship Id="rId2" Type="http://schemas.openxmlformats.org/officeDocument/2006/relationships/notesSlide" Target="../notesSlides/notesSlide57.xml"/><Relationship Id="rId1" Type="http://schemas.openxmlformats.org/officeDocument/2006/relationships/slideLayout" Target="../slideLayouts/slideLayout15.xml"/><Relationship Id="rId6" Type="http://schemas.openxmlformats.org/officeDocument/2006/relationships/diagramQuickStyle" Target="../diagrams/quickStyle41.xml"/><Relationship Id="rId5" Type="http://schemas.openxmlformats.org/officeDocument/2006/relationships/diagramLayout" Target="../diagrams/layout41.xml"/><Relationship Id="rId10" Type="http://schemas.openxmlformats.org/officeDocument/2006/relationships/image" Target="../media/image57.svg"/><Relationship Id="rId4" Type="http://schemas.openxmlformats.org/officeDocument/2006/relationships/diagramData" Target="../diagrams/data41.xml"/><Relationship Id="rId9" Type="http://schemas.openxmlformats.org/officeDocument/2006/relationships/image" Target="../media/image56.png"/></Relationships>
</file>

<file path=ppt/slides/_rels/slide68.xml.rels><?xml version="1.0" encoding="UTF-8" standalone="yes"?>
<Relationships xmlns="http://schemas.openxmlformats.org/package/2006/relationships"><Relationship Id="rId8" Type="http://schemas.microsoft.com/office/2007/relationships/diagramDrawing" Target="../diagrams/drawing42.xml"/><Relationship Id="rId3" Type="http://schemas.openxmlformats.org/officeDocument/2006/relationships/image" Target="../media/image55.png"/><Relationship Id="rId7" Type="http://schemas.openxmlformats.org/officeDocument/2006/relationships/diagramColors" Target="../diagrams/colors42.xml"/><Relationship Id="rId2" Type="http://schemas.openxmlformats.org/officeDocument/2006/relationships/notesSlide" Target="../notesSlides/notesSlide58.xml"/><Relationship Id="rId1" Type="http://schemas.openxmlformats.org/officeDocument/2006/relationships/slideLayout" Target="../slideLayouts/slideLayout15.xml"/><Relationship Id="rId6" Type="http://schemas.openxmlformats.org/officeDocument/2006/relationships/diagramQuickStyle" Target="../diagrams/quickStyle42.xml"/><Relationship Id="rId5" Type="http://schemas.openxmlformats.org/officeDocument/2006/relationships/diagramLayout" Target="../diagrams/layout42.xml"/><Relationship Id="rId10" Type="http://schemas.openxmlformats.org/officeDocument/2006/relationships/image" Target="../media/image59.svg"/><Relationship Id="rId4" Type="http://schemas.openxmlformats.org/officeDocument/2006/relationships/diagramData" Target="../diagrams/data42.xml"/><Relationship Id="rId9" Type="http://schemas.openxmlformats.org/officeDocument/2006/relationships/image" Target="../media/image58.png"/></Relationships>
</file>

<file path=ppt/slides/_rels/slide69.xml.rels><?xml version="1.0" encoding="UTF-8" standalone="yes"?>
<Relationships xmlns="http://schemas.openxmlformats.org/package/2006/relationships"><Relationship Id="rId8" Type="http://schemas.microsoft.com/office/2007/relationships/diagramDrawing" Target="../diagrams/drawing43.xml"/><Relationship Id="rId3" Type="http://schemas.openxmlformats.org/officeDocument/2006/relationships/image" Target="../media/image55.png"/><Relationship Id="rId7" Type="http://schemas.openxmlformats.org/officeDocument/2006/relationships/diagramColors" Target="../diagrams/colors43.xml"/><Relationship Id="rId2" Type="http://schemas.openxmlformats.org/officeDocument/2006/relationships/notesSlide" Target="../notesSlides/notesSlide59.xml"/><Relationship Id="rId1" Type="http://schemas.openxmlformats.org/officeDocument/2006/relationships/slideLayout" Target="../slideLayouts/slideLayout15.xml"/><Relationship Id="rId6" Type="http://schemas.openxmlformats.org/officeDocument/2006/relationships/diagramQuickStyle" Target="../diagrams/quickStyle43.xml"/><Relationship Id="rId5" Type="http://schemas.openxmlformats.org/officeDocument/2006/relationships/diagramLayout" Target="../diagrams/layout43.xml"/><Relationship Id="rId10" Type="http://schemas.openxmlformats.org/officeDocument/2006/relationships/image" Target="../media/image61.svg"/><Relationship Id="rId4" Type="http://schemas.openxmlformats.org/officeDocument/2006/relationships/diagramData" Target="../diagrams/data43.xml"/><Relationship Id="rId9" Type="http://schemas.openxmlformats.org/officeDocument/2006/relationships/image" Target="../media/image60.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diagramData" Target="../diagrams/data44.xml"/><Relationship Id="rId7" Type="http://schemas.microsoft.com/office/2007/relationships/diagramDrawing" Target="../diagrams/drawing44.xml"/><Relationship Id="rId2" Type="http://schemas.openxmlformats.org/officeDocument/2006/relationships/notesSlide" Target="../notesSlides/notesSlide60.xml"/><Relationship Id="rId1" Type="http://schemas.openxmlformats.org/officeDocument/2006/relationships/slideLayout" Target="../slideLayouts/slideLayout15.xml"/><Relationship Id="rId6" Type="http://schemas.openxmlformats.org/officeDocument/2006/relationships/diagramColors" Target="../diagrams/colors44.xml"/><Relationship Id="rId5" Type="http://schemas.openxmlformats.org/officeDocument/2006/relationships/diagramQuickStyle" Target="../diagrams/quickStyle44.xml"/><Relationship Id="rId10" Type="http://schemas.openxmlformats.org/officeDocument/2006/relationships/image" Target="../media/image63.svg"/><Relationship Id="rId4" Type="http://schemas.openxmlformats.org/officeDocument/2006/relationships/diagramLayout" Target="../diagrams/layout44.xml"/><Relationship Id="rId9" Type="http://schemas.openxmlformats.org/officeDocument/2006/relationships/image" Target="../media/image62.png"/></Relationships>
</file>

<file path=ppt/slides/_rels/slide7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svg"/><Relationship Id="rId2" Type="http://schemas.openxmlformats.org/officeDocument/2006/relationships/notesSlide" Target="../notesSlides/notesSlide61.xml"/><Relationship Id="rId1" Type="http://schemas.openxmlformats.org/officeDocument/2006/relationships/slideLayout" Target="../slideLayouts/slideLayout9.xml"/><Relationship Id="rId6" Type="http://schemas.openxmlformats.org/officeDocument/2006/relationships/image" Target="../media/image67.png"/><Relationship Id="rId11" Type="http://schemas.openxmlformats.org/officeDocument/2006/relationships/image" Target="../media/image72.svg"/><Relationship Id="rId5" Type="http://schemas.openxmlformats.org/officeDocument/2006/relationships/image" Target="../media/image66.sv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svg"/></Relationships>
</file>

<file path=ppt/slides/_rels/slide7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11.xml"/><Relationship Id="rId5" Type="http://schemas.openxmlformats.org/officeDocument/2006/relationships/image" Target="../media/image77.svg"/><Relationship Id="rId4" Type="http://schemas.openxmlformats.org/officeDocument/2006/relationships/image" Target="../media/image76.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www.texasassessment.gov/" TargetMode="External"/><Relationship Id="rId1" Type="http://schemas.openxmlformats.org/officeDocument/2006/relationships/slideLayout" Target="../slideLayouts/slideLayout9.xml"/><Relationship Id="rId4" Type="http://schemas.openxmlformats.org/officeDocument/2006/relationships/image" Target="../media/image79.png"/></Relationships>
</file>

<file path=ppt/slides/_rels/slide7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84.png"/><Relationship Id="rId1" Type="http://schemas.openxmlformats.org/officeDocument/2006/relationships/slideLayout" Target="../slideLayouts/slideLayout9.xml"/><Relationship Id="rId4" Type="http://schemas.openxmlformats.org/officeDocument/2006/relationships/image" Target="../media/image51.png"/></Relationships>
</file>

<file path=ppt/slides/_rels/slide7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9.xml"/><Relationship Id="rId1" Type="http://schemas.openxmlformats.org/officeDocument/2006/relationships/tags" Target="../tags/tag3.xml"/><Relationship Id="rId6" Type="http://schemas.openxmlformats.org/officeDocument/2006/relationships/image" Target="../media/image88.png"/><Relationship Id="rId5" Type="http://schemas.openxmlformats.org/officeDocument/2006/relationships/image" Target="../media/image87.emf"/><Relationship Id="rId4" Type="http://schemas.openxmlformats.org/officeDocument/2006/relationships/oleObject" Target="../embeddings/oleObject2.bin"/></Relationships>
</file>

<file path=ppt/slides/_rels/slide8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hyperlink" Target="https://tea.texas.gov/student.assessment/" TargetMode="External"/><Relationship Id="rId1" Type="http://schemas.openxmlformats.org/officeDocument/2006/relationships/slideLayout" Target="../slideLayouts/slideLayout10.xml"/><Relationship Id="rId4" Type="http://schemas.openxmlformats.org/officeDocument/2006/relationships/hyperlink" Target="https://commons.wikimedia.org/wiki/File:How-can-i-help.jpg"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F6599-F0D4-264D-BB71-C3C105F6F9F0}"/>
              </a:ext>
            </a:extLst>
          </p:cNvPr>
          <p:cNvSpPr>
            <a:spLocks noGrp="1"/>
          </p:cNvSpPr>
          <p:nvPr>
            <p:ph type="ctrTitle"/>
          </p:nvPr>
        </p:nvSpPr>
        <p:spPr>
          <a:xfrm>
            <a:off x="525877" y="2257277"/>
            <a:ext cx="3174530" cy="2343445"/>
          </a:xfrm>
        </p:spPr>
        <p:txBody>
          <a:bodyPr/>
          <a:lstStyle/>
          <a:p>
            <a:r>
              <a:rPr lang="en-US" sz="3900" dirty="0"/>
              <a:t>2023-2024 Accessibility</a:t>
            </a:r>
            <a:br>
              <a:rPr lang="en-US" sz="3900" dirty="0"/>
            </a:br>
            <a:r>
              <a:rPr lang="en-US" sz="3900" dirty="0"/>
              <a:t>TASI</a:t>
            </a:r>
          </a:p>
        </p:txBody>
      </p:sp>
    </p:spTree>
    <p:extLst>
      <p:ext uri="{BB962C8B-B14F-4D97-AF65-F5344CB8AC3E}">
        <p14:creationId xmlns:p14="http://schemas.microsoft.com/office/powerpoint/2010/main" val="3948236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B26E7-F544-4A5C-891B-2AA8C3FFE03B}"/>
              </a:ext>
            </a:extLst>
          </p:cNvPr>
          <p:cNvSpPr>
            <a:spLocks noGrp="1"/>
          </p:cNvSpPr>
          <p:nvPr>
            <p:ph type="title"/>
          </p:nvPr>
        </p:nvSpPr>
        <p:spPr/>
        <p:txBody>
          <a:bodyPr/>
          <a:lstStyle/>
          <a:p>
            <a:r>
              <a:rPr lang="en-US" dirty="0"/>
              <a:t>2023–2024 Accommodation </a:t>
            </a:r>
            <a:r>
              <a:rPr lang="en-US" dirty="0">
                <a:solidFill>
                  <a:schemeClr val="accent2"/>
                </a:solidFill>
              </a:rPr>
              <a:t>Reminder</a:t>
            </a:r>
          </a:p>
        </p:txBody>
      </p:sp>
      <p:pic>
        <p:nvPicPr>
          <p:cNvPr id="15" name="Graphic 14" descr="Pin with solid fill">
            <a:extLst>
              <a:ext uri="{FF2B5EF4-FFF2-40B4-BE49-F238E27FC236}">
                <a16:creationId xmlns:a16="http://schemas.microsoft.com/office/drawing/2014/main" id="{A71CA65A-D525-449E-AE83-5FC4C84508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4747225">
            <a:off x="10487143" y="117602"/>
            <a:ext cx="914400" cy="914400"/>
          </a:xfrm>
          <a:prstGeom prst="rect">
            <a:avLst/>
          </a:prstGeom>
        </p:spPr>
      </p:pic>
      <p:sp>
        <p:nvSpPr>
          <p:cNvPr id="11" name="Slide Number Placeholder 10">
            <a:extLst>
              <a:ext uri="{FF2B5EF4-FFF2-40B4-BE49-F238E27FC236}">
                <a16:creationId xmlns:a16="http://schemas.microsoft.com/office/drawing/2014/main" id="{841F6E1B-2739-4068-9CDB-A6F3FA61CF5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61A4D8EC-A93E-0572-9EB1-228D57C0E131}"/>
              </a:ext>
            </a:extLst>
          </p:cNvPr>
          <p:cNvSpPr txBox="1"/>
          <p:nvPr/>
        </p:nvSpPr>
        <p:spPr>
          <a:xfrm>
            <a:off x="398462" y="1029098"/>
            <a:ext cx="11338784" cy="553998"/>
          </a:xfrm>
          <a:prstGeom prst="rect">
            <a:avLst/>
          </a:prstGeom>
          <a:solidFill>
            <a:schemeClr val="accent2">
              <a:lumMod val="40000"/>
              <a:lumOff val="60000"/>
            </a:schemeClr>
          </a:solidFill>
          <a:ln>
            <a:solidFill>
              <a:srgbClr val="F16038"/>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D6CB9"/>
                </a:solidFill>
                <a:effectLst/>
                <a:uLnTx/>
                <a:uFillTx/>
                <a:latin typeface="Calibri" panose="020F0502020204030204"/>
                <a:ea typeface="+mn-ea"/>
                <a:cs typeface="+mn-cs"/>
              </a:rPr>
              <a:t>Reading Assistance for STAAR Grade 3 Math</a:t>
            </a:r>
          </a:p>
        </p:txBody>
      </p:sp>
      <p:sp>
        <p:nvSpPr>
          <p:cNvPr id="8" name="TextBox 7">
            <a:extLst>
              <a:ext uri="{FF2B5EF4-FFF2-40B4-BE49-F238E27FC236}">
                <a16:creationId xmlns:a16="http://schemas.microsoft.com/office/drawing/2014/main" id="{C1BB07E5-339E-2F4C-9271-9E0B749CC2E5}"/>
              </a:ext>
            </a:extLst>
          </p:cNvPr>
          <p:cNvSpPr txBox="1"/>
          <p:nvPr/>
        </p:nvSpPr>
        <p:spPr>
          <a:xfrm>
            <a:off x="398462" y="1707614"/>
            <a:ext cx="11338784" cy="3077766"/>
          </a:xfrm>
          <a:prstGeom prst="rect">
            <a:avLst/>
          </a:prstGeom>
          <a:noFill/>
          <a:ln w="38100">
            <a:solidFill>
              <a:schemeClr val="tx2"/>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Students who require reading assistance for the STAAR grade 3 online math administration must have Text-to-Speech (TTS) enabled to receive this support. </a:t>
            </a:r>
          </a:p>
          <a:p>
            <a:pPr marL="0" marR="0" lvl="0" indent="0" algn="ctr" defTabSz="914400" rtl="0" eaLnBrk="1" fontAlgn="auto" latinLnBrk="0" hangingPunct="1">
              <a:lnSpc>
                <a:spcPct val="100000"/>
              </a:lnSpc>
              <a:spcBef>
                <a:spcPts val="0"/>
              </a:spcBef>
              <a:spcAft>
                <a:spcPts val="0"/>
              </a:spcAft>
              <a:buClr>
                <a:srgbClr val="F16038"/>
              </a:buClr>
              <a:buSzTx/>
              <a:buFontTx/>
              <a:buNone/>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Test administrators should </a:t>
            </a:r>
            <a:r>
              <a:rPr kumimoji="0" lang="en-US" sz="2000" b="1" i="0" u="none" strike="noStrike" kern="1200" cap="none" spc="0" normalizeH="0" baseline="0" noProof="0" dirty="0">
                <a:ln>
                  <a:noFill/>
                </a:ln>
                <a:solidFill>
                  <a:srgbClr val="0D6CB9"/>
                </a:solidFill>
                <a:effectLst/>
                <a:uLnTx/>
                <a:uFillTx/>
                <a:latin typeface="Calibri" panose="020F0502020204030204"/>
                <a:ea typeface="+mn-ea"/>
                <a:cs typeface="+mn-cs"/>
              </a:rPr>
              <a:t>NOT</a:t>
            </a: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 be providing this support by reading test content from the screen.</a:t>
            </a:r>
            <a:endParaRPr kumimoji="0" lang="en-US" sz="2000" b="0" i="0" u="none" strike="noStrike" kern="1200" cap="none" spc="0" normalizeH="0" baseline="0" noProof="0" dirty="0">
              <a:ln>
                <a:noFill/>
              </a:ln>
              <a:solidFill>
                <a:srgbClr val="0D6CB9"/>
              </a:solidFill>
              <a:effectLst/>
              <a:uLnTx/>
              <a:uFillTx/>
              <a:latin typeface="Calibri" panose="020F0502020204030204"/>
              <a:ea typeface="Calibri"/>
              <a:cs typeface="Calibri"/>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Calibri"/>
                <a:cs typeface="Calibri"/>
              </a:rPr>
              <a:t>Prior to the administration, campuses</a:t>
            </a:r>
            <a:r>
              <a:rPr kumimoji="0" lang="en-US" sz="2000" b="0" i="0" u="none" strike="noStrike" kern="1200" cap="none" spc="0" normalizeH="0" baseline="0" noProof="0" dirty="0">
                <a:ln>
                  <a:noFill/>
                </a:ln>
                <a:solidFill>
                  <a:srgbClr val="0D6CB9"/>
                </a:solidFill>
                <a:effectLst/>
                <a:uLnTx/>
                <a:uFillTx/>
                <a:latin typeface="Calibri" panose="020F0502020204030204"/>
                <a:ea typeface="Calibri"/>
                <a:cs typeface="Calibri"/>
              </a:rPr>
              <a:t> </a:t>
            </a:r>
            <a:r>
              <a:rPr kumimoji="0" lang="en-US" sz="2000" b="0" i="0" u="none" strike="noStrike" kern="1200" cap="none" spc="0" normalizeH="0" baseline="0" noProof="0">
                <a:ln>
                  <a:noFill/>
                </a:ln>
                <a:solidFill>
                  <a:srgbClr val="0D6CB9"/>
                </a:solidFill>
                <a:effectLst/>
                <a:uLnTx/>
                <a:uFillTx/>
                <a:latin typeface="Calibri" panose="020F0502020204030204"/>
                <a:ea typeface="Calibri"/>
                <a:cs typeface="Calibri"/>
              </a:rPr>
              <a:t>should identify</a:t>
            </a:r>
            <a:r>
              <a:rPr kumimoji="0" lang="en-US" sz="2000" b="0" i="0" u="none" strike="noStrike" kern="1200" cap="none" spc="0" normalizeH="0" baseline="0" noProof="0" dirty="0">
                <a:ln>
                  <a:noFill/>
                </a:ln>
                <a:solidFill>
                  <a:srgbClr val="0D6CB9"/>
                </a:solidFill>
                <a:effectLst/>
                <a:uLnTx/>
                <a:uFillTx/>
                <a:latin typeface="Calibri" panose="020F0502020204030204"/>
                <a:ea typeface="Calibri"/>
                <a:cs typeface="Calibri"/>
              </a:rPr>
              <a:t> students who regularly request this support during classroom instruction</a:t>
            </a:r>
            <a:r>
              <a:rPr kumimoji="0" lang="en-US" sz="2000" b="0" i="0" u="none" strike="noStrike" kern="1200" cap="none" spc="0" normalizeH="0" baseline="0" noProof="0">
                <a:ln>
                  <a:noFill/>
                </a:ln>
                <a:solidFill>
                  <a:srgbClr val="0D6CB9"/>
                </a:solidFill>
                <a:effectLst/>
                <a:uLnTx/>
                <a:uFillTx/>
                <a:latin typeface="Calibri" panose="020F0502020204030204"/>
                <a:ea typeface="Calibri"/>
                <a:cs typeface="Calibri"/>
              </a:rPr>
              <a:t>, </a:t>
            </a:r>
            <a:r>
              <a:rPr kumimoji="0" lang="en-US" sz="2000" b="0" i="0" u="none" strike="noStrike" kern="1200" cap="none" spc="0" normalizeH="0" baseline="0" noProof="0" dirty="0">
                <a:ln>
                  <a:noFill/>
                </a:ln>
                <a:solidFill>
                  <a:srgbClr val="0D6CB9"/>
                </a:solidFill>
                <a:effectLst/>
                <a:uLnTx/>
                <a:uFillTx/>
                <a:latin typeface="Calibri" panose="020F0502020204030204"/>
                <a:ea typeface="Calibri"/>
                <a:cs typeface="Calibri"/>
              </a:rPr>
              <a:t>so TTS can be enabled in advance of testing and the student can become familiar with using this support online.</a:t>
            </a:r>
            <a:r>
              <a:rPr kumimoji="0" lang="en-US" sz="2000" b="0" i="0" u="none" strike="noStrike" kern="1200" cap="none" spc="0" normalizeH="0" baseline="0" noProof="0">
                <a:ln>
                  <a:noFill/>
                </a:ln>
                <a:solidFill>
                  <a:srgbClr val="0D6CB9"/>
                </a:solidFill>
                <a:effectLst/>
                <a:uLnTx/>
                <a:uFillTx/>
                <a:latin typeface="Calibri" panose="020F0502020204030204"/>
                <a:ea typeface="Calibri"/>
                <a:cs typeface="Calibri"/>
              </a:rPr>
              <a:t> </a:t>
            </a:r>
            <a:endPar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If a student requests this support during testing, the test will need to paused, TTS enabled, and then the student may resume testing. TTS can stay enabled for the remainder of the test. </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	</a:t>
            </a:r>
            <a:endParaRPr kumimoji="0" lang="en-US" sz="2000" b="0" i="0" u="none" strike="noStrike" kern="1200" cap="none" spc="0" normalizeH="0" baseline="0" noProof="0" dirty="0">
              <a:ln>
                <a:noFill/>
              </a:ln>
              <a:solidFill>
                <a:srgbClr val="0D6CB9"/>
              </a:solidFill>
              <a:effectLst/>
              <a:uLnTx/>
              <a:uFillTx/>
              <a:latin typeface="Calibri" panose="020F0502020204030204"/>
              <a:ea typeface="Calibri"/>
              <a:cs typeface="Calibri"/>
            </a:endParaRPr>
          </a:p>
        </p:txBody>
      </p:sp>
      <p:sp>
        <p:nvSpPr>
          <p:cNvPr id="7" name="Rectangle: Rounded Corners 6">
            <a:extLst>
              <a:ext uri="{FF2B5EF4-FFF2-40B4-BE49-F238E27FC236}">
                <a16:creationId xmlns:a16="http://schemas.microsoft.com/office/drawing/2014/main" id="{BBBFA3D7-6D85-8F8A-BE5D-BC5709A00B37}"/>
              </a:ext>
            </a:extLst>
          </p:cNvPr>
          <p:cNvSpPr/>
          <p:nvPr/>
        </p:nvSpPr>
        <p:spPr>
          <a:xfrm>
            <a:off x="398462" y="4965773"/>
            <a:ext cx="11338784" cy="895350"/>
          </a:xfrm>
          <a:prstGeom prst="roundRect">
            <a:avLst/>
          </a:prstGeom>
          <a:solidFill>
            <a:schemeClr val="bg1"/>
          </a:solid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Note: For students participating in a STAAR paper administration, the test administrator train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in </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oral </a:t>
            </a: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administration will provide this support.</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  </a:t>
            </a:r>
            <a:endParaRPr kumimoji="0" lang="en-US" sz="2000" b="0" i="0" u="none" strike="noStrike" kern="1200" cap="none" spc="0" normalizeH="0" baseline="0" noProof="0">
              <a:ln>
                <a:noFill/>
              </a:ln>
              <a:solidFill>
                <a:srgbClr val="0D6CB9"/>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23376490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B26E7-F544-4A5C-891B-2AA8C3FFE03B}"/>
              </a:ext>
            </a:extLst>
          </p:cNvPr>
          <p:cNvSpPr>
            <a:spLocks noGrp="1"/>
          </p:cNvSpPr>
          <p:nvPr>
            <p:ph type="title"/>
          </p:nvPr>
        </p:nvSpPr>
        <p:spPr/>
        <p:txBody>
          <a:bodyPr/>
          <a:lstStyle/>
          <a:p>
            <a:r>
              <a:rPr lang="en-US" dirty="0"/>
              <a:t>2023–2024 Accommodation </a:t>
            </a:r>
            <a:r>
              <a:rPr lang="en-US" dirty="0">
                <a:solidFill>
                  <a:schemeClr val="accent2"/>
                </a:solidFill>
              </a:rPr>
              <a:t>Reminder</a:t>
            </a:r>
          </a:p>
        </p:txBody>
      </p:sp>
      <p:pic>
        <p:nvPicPr>
          <p:cNvPr id="15" name="Graphic 14" descr="Pin with solid fill">
            <a:extLst>
              <a:ext uri="{FF2B5EF4-FFF2-40B4-BE49-F238E27FC236}">
                <a16:creationId xmlns:a16="http://schemas.microsoft.com/office/drawing/2014/main" id="{A71CA65A-D525-449E-AE83-5FC4C84508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4747225">
            <a:off x="10125075" y="71705"/>
            <a:ext cx="914400" cy="914400"/>
          </a:xfrm>
          <a:prstGeom prst="rect">
            <a:avLst/>
          </a:prstGeom>
        </p:spPr>
      </p:pic>
      <p:sp>
        <p:nvSpPr>
          <p:cNvPr id="11" name="Slide Number Placeholder 10">
            <a:extLst>
              <a:ext uri="{FF2B5EF4-FFF2-40B4-BE49-F238E27FC236}">
                <a16:creationId xmlns:a16="http://schemas.microsoft.com/office/drawing/2014/main" id="{841F6E1B-2739-4068-9CDB-A6F3FA61CF5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61A4D8EC-A93E-0572-9EB1-228D57C0E131}"/>
              </a:ext>
            </a:extLst>
          </p:cNvPr>
          <p:cNvSpPr txBox="1"/>
          <p:nvPr/>
        </p:nvSpPr>
        <p:spPr>
          <a:xfrm>
            <a:off x="398462" y="1029098"/>
            <a:ext cx="11338784" cy="553998"/>
          </a:xfrm>
          <a:prstGeom prst="rect">
            <a:avLst/>
          </a:prstGeom>
          <a:solidFill>
            <a:schemeClr val="accent2">
              <a:lumMod val="40000"/>
              <a:lumOff val="60000"/>
            </a:schemeClr>
          </a:solidFill>
          <a:ln>
            <a:solidFill>
              <a:srgbClr val="F16038"/>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D6CB9"/>
                </a:solidFill>
                <a:effectLst/>
                <a:uLnTx/>
                <a:uFillTx/>
                <a:latin typeface="Calibri" panose="020F0502020204030204"/>
                <a:ea typeface="+mn-ea"/>
                <a:cs typeface="+mn-cs"/>
              </a:rPr>
              <a:t>Reading Assistance for STAAR Grade 3 Math, cont.</a:t>
            </a:r>
          </a:p>
        </p:txBody>
      </p:sp>
      <p:sp>
        <p:nvSpPr>
          <p:cNvPr id="2" name="TextBox 1">
            <a:extLst>
              <a:ext uri="{FF2B5EF4-FFF2-40B4-BE49-F238E27FC236}">
                <a16:creationId xmlns:a16="http://schemas.microsoft.com/office/drawing/2014/main" id="{3940A313-506F-E458-5A86-67367B4BB54D}"/>
              </a:ext>
            </a:extLst>
          </p:cNvPr>
          <p:cNvSpPr txBox="1"/>
          <p:nvPr/>
        </p:nvSpPr>
        <p:spPr>
          <a:xfrm>
            <a:off x="398462" y="1707614"/>
            <a:ext cx="11338784" cy="2985433"/>
          </a:xfrm>
          <a:prstGeom prst="rect">
            <a:avLst/>
          </a:prstGeom>
          <a:noFill/>
          <a:ln w="38100">
            <a:solidFill>
              <a:schemeClr val="tx2"/>
            </a:solidFill>
          </a:ln>
        </p:spPr>
        <p:txBody>
          <a:bodyPr wrap="square" lIns="91440" tIns="45720" rIns="91440" bIns="45720" rtlCol="0" anchor="t">
            <a:spAutoFit/>
          </a:bodyPr>
          <a:lstStyle/>
          <a:p>
            <a:pPr lvl="0">
              <a:buClr>
                <a:srgbClr val="F16038"/>
              </a:buClr>
              <a:defRPr/>
            </a:pPr>
            <a:r>
              <a:rPr lang="en-US" sz="2400" b="1" dirty="0">
                <a:solidFill>
                  <a:schemeClr val="accent2"/>
                </a:solidFill>
              </a:rPr>
              <a:t>Question: </a:t>
            </a:r>
            <a:r>
              <a:rPr lang="en-US" sz="2400" dirty="0">
                <a:solidFill>
                  <a:schemeClr val="accent1"/>
                </a:solidFill>
              </a:rPr>
              <a:t>How can the TA support students who have TTS enabled the day of or during the test?</a:t>
            </a:r>
          </a:p>
          <a:p>
            <a:pPr lvl="0">
              <a:buClr>
                <a:srgbClr val="F16038"/>
              </a:buClr>
              <a:defRPr/>
            </a:pPr>
            <a:endParaRPr kumimoji="0" lang="en-US" sz="2400" b="0" i="0" u="none" strike="noStrike" kern="1200" cap="none" spc="0" normalizeH="0" baseline="0" noProof="0" dirty="0">
              <a:ln>
                <a:noFill/>
              </a:ln>
              <a:solidFill>
                <a:schemeClr val="accent1"/>
              </a:solidFill>
              <a:effectLst/>
              <a:uLnTx/>
              <a:uFillTx/>
              <a:latin typeface="Calibri" panose="020F0502020204030204"/>
              <a:ea typeface="+mn-ea"/>
              <a:cs typeface="+mn-cs"/>
            </a:endParaRPr>
          </a:p>
          <a:p>
            <a:pPr lvl="0">
              <a:buClr>
                <a:srgbClr val="F16038"/>
              </a:buClr>
              <a:defRPr/>
            </a:pPr>
            <a:r>
              <a:rPr lang="en-US" sz="2400" b="1" dirty="0">
                <a:solidFill>
                  <a:schemeClr val="accent2"/>
                </a:solidFill>
                <a:latin typeface="Calibri" panose="020F0502020204030204"/>
              </a:rPr>
              <a:t>Answer: </a:t>
            </a:r>
            <a:r>
              <a:rPr lang="en-US" sz="1800" b="0" i="0" u="none" strike="noStrike" baseline="0" dirty="0">
                <a:solidFill>
                  <a:schemeClr val="accent1"/>
                </a:solidFill>
                <a:latin typeface="Open Sans" panose="020B0606030504020204" pitchFamily="34" charset="0"/>
              </a:rPr>
              <a:t>The TA may use the chart provided in the appendi</a:t>
            </a:r>
            <a:r>
              <a:rPr lang="en-US" dirty="0">
                <a:solidFill>
                  <a:schemeClr val="accent1"/>
                </a:solidFill>
                <a:latin typeface="Open Sans" panose="020B0606030504020204" pitchFamily="34" charset="0"/>
              </a:rPr>
              <a:t>x A of the STAAR test administrator manual. </a:t>
            </a:r>
            <a:r>
              <a:rPr lang="en-US" sz="1800" b="0" i="0" u="none" strike="noStrike" baseline="0" dirty="0">
                <a:solidFill>
                  <a:schemeClr val="accent1"/>
                </a:solidFill>
                <a:latin typeface="Open Sans" panose="020B0606030504020204" pitchFamily="34" charset="0"/>
              </a:rPr>
              <a:t>If a student is having trouble locating the tool, the TA may point to the proper icon in the ICON column below. If a student asks how a tool or button functions, the test administrator may read aloud the information in the TEXT column. The information in this column may be read verbatim, paraphrased, or clarified as needed. </a:t>
            </a:r>
            <a:r>
              <a:rPr lang="en-US" sz="1800" b="1" i="0" u="none" strike="noStrike" baseline="0" dirty="0">
                <a:solidFill>
                  <a:schemeClr val="accent1"/>
                </a:solidFill>
                <a:latin typeface="Open Sans" panose="020B0606030504020204" pitchFamily="34" charset="0"/>
              </a:rPr>
              <a:t>No additional prompting, demonstration, or explanation may be provided. </a:t>
            </a:r>
            <a:endParaRPr kumimoji="0" lang="en-US" sz="2400" b="1" i="0" u="none" strike="noStrike" kern="1200" cap="none" spc="0" normalizeH="0" baseline="0" noProof="0" dirty="0">
              <a:ln>
                <a:noFill/>
              </a:ln>
              <a:solidFill>
                <a:schemeClr val="accent1"/>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
                <a:srgbClr val="F16038"/>
              </a:buClr>
              <a:buSzTx/>
              <a:buFontTx/>
              <a:buNone/>
              <a:tabLst/>
              <a:defRPr/>
            </a:pP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	</a:t>
            </a:r>
            <a:endParaRPr kumimoji="0" lang="en-US" sz="2000" b="0" i="0" u="none" strike="noStrike" kern="1200" cap="none" spc="0" normalizeH="0" baseline="0" noProof="0" dirty="0">
              <a:ln>
                <a:noFill/>
              </a:ln>
              <a:solidFill>
                <a:srgbClr val="0D6CB9"/>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8486978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C42F66-C0A5-14B3-DC83-D07A265CCB0E}"/>
              </a:ext>
            </a:extLst>
          </p:cNvPr>
          <p:cNvSpPr>
            <a:spLocks noGrp="1"/>
          </p:cNvSpPr>
          <p:nvPr>
            <p:ph type="title"/>
          </p:nvPr>
        </p:nvSpPr>
        <p:spPr/>
        <p:txBody>
          <a:bodyPr>
            <a:normAutofit/>
          </a:bodyPr>
          <a:lstStyle/>
          <a:p>
            <a:r>
              <a:rPr lang="en-US" dirty="0"/>
              <a:t>TDS Enhancements—Color Choice </a:t>
            </a:r>
            <a:r>
              <a:rPr lang="en-US" dirty="0">
                <a:solidFill>
                  <a:schemeClr val="accent2"/>
                </a:solidFill>
              </a:rPr>
              <a:t>Update</a:t>
            </a:r>
          </a:p>
        </p:txBody>
      </p:sp>
      <p:sp>
        <p:nvSpPr>
          <p:cNvPr id="11" name="Explosion: 8 Points 5" descr="New icon">
            <a:extLst>
              <a:ext uri="{FF2B5EF4-FFF2-40B4-BE49-F238E27FC236}">
                <a16:creationId xmlns:a16="http://schemas.microsoft.com/office/drawing/2014/main" id="{85078734-DBE4-E35E-B257-F905E3410886}"/>
              </a:ext>
            </a:extLst>
          </p:cNvPr>
          <p:cNvSpPr/>
          <p:nvPr/>
        </p:nvSpPr>
        <p:spPr>
          <a:xfrm>
            <a:off x="10004195" y="210286"/>
            <a:ext cx="1880624" cy="169239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NEW</a:t>
            </a:r>
          </a:p>
        </p:txBody>
      </p:sp>
      <p:sp>
        <p:nvSpPr>
          <p:cNvPr id="4" name="Content Placeholder 3">
            <a:extLst>
              <a:ext uri="{FF2B5EF4-FFF2-40B4-BE49-F238E27FC236}">
                <a16:creationId xmlns:a16="http://schemas.microsoft.com/office/drawing/2014/main" id="{0D85BC09-0CEC-C329-D380-64CF22A53152}"/>
              </a:ext>
            </a:extLst>
          </p:cNvPr>
          <p:cNvSpPr>
            <a:spLocks noGrp="1"/>
          </p:cNvSpPr>
          <p:nvPr>
            <p:ph idx="1"/>
          </p:nvPr>
        </p:nvSpPr>
        <p:spPr>
          <a:xfrm>
            <a:off x="807630" y="1999456"/>
            <a:ext cx="5908495" cy="4351338"/>
          </a:xfrm>
        </p:spPr>
        <p:txBody>
          <a:bodyPr lIns="91440" tIns="45720" rIns="91440" bIns="45720" anchor="t"/>
          <a:lstStyle/>
          <a:p>
            <a:pPr>
              <a:buClr>
                <a:srgbClr val="0070C0"/>
              </a:buClr>
              <a:buFont typeface="Wingdings" pitchFamily="2" charset="2"/>
              <a:buChar char="ü"/>
            </a:pPr>
            <a:r>
              <a:rPr lang="en-US" dirty="0"/>
              <a:t>Color Choice has moved to inside the student interface</a:t>
            </a:r>
          </a:p>
          <a:p>
            <a:pPr>
              <a:buClr>
                <a:srgbClr val="0070C0"/>
              </a:buClr>
              <a:buFont typeface="Wingdings" pitchFamily="2" charset="2"/>
              <a:buChar char="ü"/>
            </a:pPr>
            <a:endParaRPr lang="en-US" dirty="0">
              <a:cs typeface="Calibri"/>
            </a:endParaRPr>
          </a:p>
          <a:p>
            <a:pPr>
              <a:buClr>
                <a:srgbClr val="0070C0"/>
              </a:buClr>
              <a:buChar char="ü"/>
            </a:pPr>
            <a:r>
              <a:rPr lang="en-US" dirty="0">
                <a:cs typeface="Calibri"/>
              </a:rPr>
              <a:t>Students can control color without having to pause and log out.</a:t>
            </a:r>
          </a:p>
          <a:p>
            <a:pPr marL="0" indent="0">
              <a:buNone/>
            </a:pPr>
            <a:endParaRPr lang="en-US" dirty="0">
              <a:cs typeface="Calibri"/>
            </a:endParaRPr>
          </a:p>
          <a:p>
            <a:endParaRPr lang="en-US" dirty="0">
              <a:cs typeface="Calibri"/>
            </a:endParaRPr>
          </a:p>
        </p:txBody>
      </p:sp>
      <p:pic>
        <p:nvPicPr>
          <p:cNvPr id="2" name="Picture 1" descr="A screenshot of a phone&#10;&#10;Description automatically generated">
            <a:extLst>
              <a:ext uri="{FF2B5EF4-FFF2-40B4-BE49-F238E27FC236}">
                <a16:creationId xmlns:a16="http://schemas.microsoft.com/office/drawing/2014/main" id="{74787798-0E03-06DF-DC41-F66FDCE75B75}"/>
              </a:ext>
            </a:extLst>
          </p:cNvPr>
          <p:cNvPicPr>
            <a:picLocks noChangeAspect="1"/>
          </p:cNvPicPr>
          <p:nvPr/>
        </p:nvPicPr>
        <p:blipFill>
          <a:blip r:embed="rId2"/>
          <a:stretch>
            <a:fillRect/>
          </a:stretch>
        </p:blipFill>
        <p:spPr>
          <a:xfrm>
            <a:off x="7270630" y="1357402"/>
            <a:ext cx="2740324" cy="4344478"/>
          </a:xfrm>
          <a:prstGeom prst="rect">
            <a:avLst/>
          </a:prstGeom>
        </p:spPr>
      </p:pic>
      <p:sp>
        <p:nvSpPr>
          <p:cNvPr id="10" name="Frame 9">
            <a:extLst>
              <a:ext uri="{FF2B5EF4-FFF2-40B4-BE49-F238E27FC236}">
                <a16:creationId xmlns:a16="http://schemas.microsoft.com/office/drawing/2014/main" id="{40CF6A62-9213-789C-FA5D-6909DA331697}"/>
              </a:ext>
              <a:ext uri="{C183D7F6-B498-43B3-948B-1728B52AA6E4}">
                <adec:decorative xmlns:adec="http://schemas.microsoft.com/office/drawing/2017/decorative" val="1"/>
              </a:ext>
            </a:extLst>
          </p:cNvPr>
          <p:cNvSpPr/>
          <p:nvPr/>
        </p:nvSpPr>
        <p:spPr>
          <a:xfrm>
            <a:off x="7094029" y="3544625"/>
            <a:ext cx="2958815" cy="953892"/>
          </a:xfrm>
          <a:prstGeom prst="frame">
            <a:avLst/>
          </a:prstGeom>
          <a:solidFill>
            <a:srgbClr val="FF0000"/>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Slide Number Placeholder 11">
            <a:extLst>
              <a:ext uri="{FF2B5EF4-FFF2-40B4-BE49-F238E27FC236}">
                <a16:creationId xmlns:a16="http://schemas.microsoft.com/office/drawing/2014/main" id="{E2C32F71-E7E4-64AF-69E3-96CA27BC4A2C}"/>
              </a:ext>
              <a:ext uri="{C183D7F6-B498-43B3-948B-1728B52AA6E4}">
                <adec:decorative xmlns:adec="http://schemas.microsoft.com/office/drawing/2017/decorative" val="1"/>
              </a:ext>
            </a:extLst>
          </p:cNvPr>
          <p:cNvSpPr>
            <a:spLocks noGrp="1"/>
          </p:cNvSpPr>
          <p:nvPr>
            <p:ph type="sldNum" sz="quarter" idx="4"/>
          </p:nvPr>
        </p:nvSpPr>
        <p:spPr/>
        <p:txBody>
          <a:bodyPr/>
          <a:lstStyle/>
          <a:p>
            <a:fld id="{69C126A4-BD19-47E2-8A0E-0DE1B9D8C925}" type="slidenum">
              <a:rPr lang="en-US" dirty="0" smtClean="0"/>
              <a:pPr/>
              <a:t>12</a:t>
            </a:fld>
            <a:endParaRPr lang="en-US"/>
          </a:p>
        </p:txBody>
      </p:sp>
    </p:spTree>
    <p:extLst>
      <p:ext uri="{BB962C8B-B14F-4D97-AF65-F5344CB8AC3E}">
        <p14:creationId xmlns:p14="http://schemas.microsoft.com/office/powerpoint/2010/main" val="27120805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C42F66-C0A5-14B3-DC83-D07A265CCB0E}"/>
              </a:ext>
            </a:extLst>
          </p:cNvPr>
          <p:cNvSpPr>
            <a:spLocks noGrp="1"/>
          </p:cNvSpPr>
          <p:nvPr>
            <p:ph type="title"/>
          </p:nvPr>
        </p:nvSpPr>
        <p:spPr/>
        <p:txBody>
          <a:bodyPr>
            <a:normAutofit/>
          </a:bodyPr>
          <a:lstStyle/>
          <a:p>
            <a:r>
              <a:rPr lang="en-US" dirty="0"/>
              <a:t>TDS Enhancements—Text-to-Speech: </a:t>
            </a:r>
            <a:r>
              <a:rPr lang="en-US" dirty="0">
                <a:solidFill>
                  <a:schemeClr val="accent2"/>
                </a:solidFill>
              </a:rPr>
              <a:t>Update</a:t>
            </a:r>
          </a:p>
        </p:txBody>
      </p:sp>
      <p:sp>
        <p:nvSpPr>
          <p:cNvPr id="11" name="Explosion: 8 Points 5" descr="New icon">
            <a:extLst>
              <a:ext uri="{FF2B5EF4-FFF2-40B4-BE49-F238E27FC236}">
                <a16:creationId xmlns:a16="http://schemas.microsoft.com/office/drawing/2014/main" id="{85078734-DBE4-E35E-B257-F905E3410886}"/>
              </a:ext>
            </a:extLst>
          </p:cNvPr>
          <p:cNvSpPr/>
          <p:nvPr/>
        </p:nvSpPr>
        <p:spPr>
          <a:xfrm>
            <a:off x="10004195" y="210286"/>
            <a:ext cx="1880624" cy="169239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NEW</a:t>
            </a:r>
          </a:p>
        </p:txBody>
      </p:sp>
      <p:sp>
        <p:nvSpPr>
          <p:cNvPr id="12" name="Slide Number Placeholder 11">
            <a:extLst>
              <a:ext uri="{FF2B5EF4-FFF2-40B4-BE49-F238E27FC236}">
                <a16:creationId xmlns:a16="http://schemas.microsoft.com/office/drawing/2014/main" id="{E2C32F71-E7E4-64AF-69E3-96CA27BC4A2C}"/>
              </a:ext>
              <a:ext uri="{C183D7F6-B498-43B3-948B-1728B52AA6E4}">
                <adec:decorative xmlns:adec="http://schemas.microsoft.com/office/drawing/2017/decorative" val="1"/>
              </a:ext>
            </a:extLst>
          </p:cNvPr>
          <p:cNvSpPr>
            <a:spLocks noGrp="1"/>
          </p:cNvSpPr>
          <p:nvPr>
            <p:ph type="sldNum" sz="quarter" idx="4"/>
          </p:nvPr>
        </p:nvSpPr>
        <p:spPr/>
        <p:txBody>
          <a:bodyPr/>
          <a:lstStyle/>
          <a:p>
            <a:fld id="{69C126A4-BD19-47E2-8A0E-0DE1B9D8C925}" type="slidenum">
              <a:rPr lang="en-US" dirty="0" smtClean="0"/>
              <a:pPr/>
              <a:t>13</a:t>
            </a:fld>
            <a:endParaRPr lang="en-US"/>
          </a:p>
        </p:txBody>
      </p:sp>
      <p:cxnSp>
        <p:nvCxnSpPr>
          <p:cNvPr id="6" name="Straight Arrow Connector 5">
            <a:extLst>
              <a:ext uri="{FF2B5EF4-FFF2-40B4-BE49-F238E27FC236}">
                <a16:creationId xmlns:a16="http://schemas.microsoft.com/office/drawing/2014/main" id="{B9EE3D9E-A92F-82D3-9B03-02AFA6FC2958}"/>
              </a:ext>
              <a:ext uri="{C183D7F6-B498-43B3-948B-1728B52AA6E4}">
                <adec:decorative xmlns:adec="http://schemas.microsoft.com/office/drawing/2017/decorative" val="1"/>
              </a:ext>
            </a:extLst>
          </p:cNvPr>
          <p:cNvCxnSpPr/>
          <p:nvPr/>
        </p:nvCxnSpPr>
        <p:spPr>
          <a:xfrm>
            <a:off x="7634177" y="1678214"/>
            <a:ext cx="0" cy="7240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5" name="Picture 4" descr="A screenshot of a test&#10;&#10;Description automatically generated">
            <a:extLst>
              <a:ext uri="{FF2B5EF4-FFF2-40B4-BE49-F238E27FC236}">
                <a16:creationId xmlns:a16="http://schemas.microsoft.com/office/drawing/2014/main" id="{069F6A81-E187-5393-9439-CE760F214009}"/>
              </a:ext>
            </a:extLst>
          </p:cNvPr>
          <p:cNvPicPr>
            <a:picLocks noChangeAspect="1"/>
          </p:cNvPicPr>
          <p:nvPr/>
        </p:nvPicPr>
        <p:blipFill>
          <a:blip r:embed="rId2"/>
          <a:stretch>
            <a:fillRect/>
          </a:stretch>
        </p:blipFill>
        <p:spPr>
          <a:xfrm>
            <a:off x="310055" y="907237"/>
            <a:ext cx="8707820" cy="5096076"/>
          </a:xfrm>
          <a:prstGeom prst="rect">
            <a:avLst/>
          </a:prstGeom>
        </p:spPr>
      </p:pic>
      <p:sp>
        <p:nvSpPr>
          <p:cNvPr id="10" name="Frame 9">
            <a:extLst>
              <a:ext uri="{FF2B5EF4-FFF2-40B4-BE49-F238E27FC236}">
                <a16:creationId xmlns:a16="http://schemas.microsoft.com/office/drawing/2014/main" id="{40CF6A62-9213-789C-FA5D-6909DA331697}"/>
              </a:ext>
              <a:ext uri="{C183D7F6-B498-43B3-948B-1728B52AA6E4}">
                <adec:decorative xmlns:adec="http://schemas.microsoft.com/office/drawing/2017/decorative" val="1"/>
              </a:ext>
            </a:extLst>
          </p:cNvPr>
          <p:cNvSpPr/>
          <p:nvPr/>
        </p:nvSpPr>
        <p:spPr>
          <a:xfrm>
            <a:off x="6746471" y="848038"/>
            <a:ext cx="1958234" cy="685659"/>
          </a:xfrm>
          <a:prstGeom prst="frame">
            <a:avLst>
              <a:gd name="adj1" fmla="val 11085"/>
            </a:avLst>
          </a:prstGeom>
          <a:solidFill>
            <a:srgbClr val="FF0000"/>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Content Placeholder 3">
            <a:extLst>
              <a:ext uri="{FF2B5EF4-FFF2-40B4-BE49-F238E27FC236}">
                <a16:creationId xmlns:a16="http://schemas.microsoft.com/office/drawing/2014/main" id="{0D85BC09-0CEC-C329-D380-64CF22A53152}"/>
              </a:ext>
            </a:extLst>
          </p:cNvPr>
          <p:cNvSpPr>
            <a:spLocks noGrp="1"/>
          </p:cNvSpPr>
          <p:nvPr>
            <p:ph idx="1"/>
          </p:nvPr>
        </p:nvSpPr>
        <p:spPr>
          <a:xfrm>
            <a:off x="7771376" y="2467940"/>
            <a:ext cx="4126380" cy="1297209"/>
          </a:xfrm>
          <a:solidFill>
            <a:schemeClr val="accent1">
              <a:lumMod val="40000"/>
              <a:lumOff val="60000"/>
            </a:schemeClr>
          </a:solidFill>
          <a:ln w="28575">
            <a:solidFill>
              <a:schemeClr val="tx1"/>
            </a:solidFill>
            <a:prstDash val="dash"/>
          </a:ln>
        </p:spPr>
        <p:txBody>
          <a:bodyPr lIns="91440" tIns="45720" rIns="91440" bIns="45720" anchor="t"/>
          <a:lstStyle/>
          <a:p>
            <a:pPr>
              <a:buClr>
                <a:srgbClr val="0070C0"/>
              </a:buClr>
              <a:buFont typeface="Wingdings" pitchFamily="2" charset="2"/>
              <a:buChar char="ü"/>
            </a:pPr>
            <a:r>
              <a:rPr lang="en-US">
                <a:solidFill>
                  <a:schemeClr val="tx1"/>
                </a:solidFill>
              </a:rPr>
              <a:t>Pre-test instruction pages can now be read to students who have TTS.</a:t>
            </a:r>
          </a:p>
          <a:p>
            <a:endParaRPr lang="en-US">
              <a:ea typeface="Calibri" panose="020F0502020204030204"/>
              <a:cs typeface="Calibri" panose="020F0502020204030204"/>
            </a:endParaRPr>
          </a:p>
        </p:txBody>
      </p:sp>
      <p:cxnSp>
        <p:nvCxnSpPr>
          <p:cNvPr id="7" name="Straight Arrow Connector 6">
            <a:extLst>
              <a:ext uri="{FF2B5EF4-FFF2-40B4-BE49-F238E27FC236}">
                <a16:creationId xmlns:a16="http://schemas.microsoft.com/office/drawing/2014/main" id="{2110FA7C-2CA6-2C3C-7C25-451C746D2253}"/>
              </a:ext>
              <a:ext uri="{C183D7F6-B498-43B3-948B-1728B52AA6E4}">
                <adec:decorative xmlns:adec="http://schemas.microsoft.com/office/drawing/2017/decorative" val="1"/>
              </a:ext>
            </a:extLst>
          </p:cNvPr>
          <p:cNvCxnSpPr/>
          <p:nvPr/>
        </p:nvCxnSpPr>
        <p:spPr>
          <a:xfrm flipH="1" flipV="1">
            <a:off x="7856621" y="1590174"/>
            <a:ext cx="1862888" cy="86025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96798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19003-B2AB-4130-A1B1-B11FC87B6AE4}"/>
              </a:ext>
            </a:extLst>
          </p:cNvPr>
          <p:cNvSpPr>
            <a:spLocks noGrp="1"/>
          </p:cNvSpPr>
          <p:nvPr>
            <p:ph type="title"/>
          </p:nvPr>
        </p:nvSpPr>
        <p:spPr>
          <a:xfrm>
            <a:off x="712380" y="292378"/>
            <a:ext cx="11121657" cy="751350"/>
          </a:xfrm>
        </p:spPr>
        <p:txBody>
          <a:bodyPr>
            <a:normAutofit fontScale="90000"/>
          </a:bodyPr>
          <a:lstStyle/>
          <a:p>
            <a:r>
              <a:rPr lang="en-US" sz="4000" dirty="0"/>
              <a:t>What Are “Accommodations” in Assessment?</a:t>
            </a:r>
            <a:br>
              <a:rPr lang="en-US" dirty="0"/>
            </a:br>
            <a:endParaRPr lang="en-US" dirty="0"/>
          </a:p>
        </p:txBody>
      </p:sp>
      <p:sp>
        <p:nvSpPr>
          <p:cNvPr id="3" name="Content Placeholder 2">
            <a:extLst>
              <a:ext uri="{FF2B5EF4-FFF2-40B4-BE49-F238E27FC236}">
                <a16:creationId xmlns:a16="http://schemas.microsoft.com/office/drawing/2014/main" id="{E66FF1D4-D00E-43F9-8273-82963FF0303C}"/>
              </a:ext>
            </a:extLst>
          </p:cNvPr>
          <p:cNvSpPr>
            <a:spLocks noGrp="1"/>
          </p:cNvSpPr>
          <p:nvPr>
            <p:ph idx="1"/>
          </p:nvPr>
        </p:nvSpPr>
        <p:spPr>
          <a:xfrm>
            <a:off x="357963" y="953164"/>
            <a:ext cx="5866567" cy="4759422"/>
          </a:xfrm>
          <a:ln w="28575">
            <a:solidFill>
              <a:schemeClr val="accent1"/>
            </a:solidFill>
          </a:ln>
        </p:spPr>
        <p:txBody>
          <a:bodyPr/>
          <a:lstStyle/>
          <a:p>
            <a:pPr>
              <a:buClr>
                <a:srgbClr val="F16038"/>
              </a:buClr>
            </a:pPr>
            <a:r>
              <a:rPr lang="en-US" dirty="0"/>
              <a:t>Accommodations ensure that each student can interact appropriately with the content, presentation, and response mode of the test. </a:t>
            </a:r>
          </a:p>
          <a:p>
            <a:pPr>
              <a:buClr>
                <a:srgbClr val="F16038"/>
              </a:buClr>
            </a:pPr>
            <a:r>
              <a:rPr lang="en-US" dirty="0"/>
              <a:t>Assessments should allow ALL test takers to demonstrate their knowledge of the content being tested without the format of the assessment, non-tested language, or the type of response needed to answer the questions serving as barriers to their success. </a:t>
            </a:r>
          </a:p>
          <a:p>
            <a:pPr marL="0" indent="0">
              <a:buNone/>
            </a:pPr>
            <a:endParaRPr lang="en-US" sz="2000" dirty="0"/>
          </a:p>
          <a:p>
            <a:endParaRPr lang="en-US" sz="2400" dirty="0"/>
          </a:p>
        </p:txBody>
      </p:sp>
      <p:pic>
        <p:nvPicPr>
          <p:cNvPr id="10" name="Picture 9" descr="Student writing in class  close-up">
            <a:extLst>
              <a:ext uri="{FF2B5EF4-FFF2-40B4-BE49-F238E27FC236}">
                <a16:creationId xmlns:a16="http://schemas.microsoft.com/office/drawing/2014/main" id="{7911B439-E1BF-42FA-BC10-5F2D0406C6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6894" y="1063332"/>
            <a:ext cx="5457142" cy="4759422"/>
          </a:xfrm>
          <a:prstGeom prst="rect">
            <a:avLst/>
          </a:prstGeom>
        </p:spPr>
      </p:pic>
      <p:graphicFrame>
        <p:nvGraphicFramePr>
          <p:cNvPr id="8" name="Content Placeholder 7" descr="graphic showing accommodations policy at the center and STAAR, STAAR spanish, and TELPAS connected around it. ">
            <a:extLst>
              <a:ext uri="{FF2B5EF4-FFF2-40B4-BE49-F238E27FC236}">
                <a16:creationId xmlns:a16="http://schemas.microsoft.com/office/drawing/2014/main" id="{639FFE26-D6F2-4879-9699-2A3CB312BF43}"/>
              </a:ext>
            </a:extLst>
          </p:cNvPr>
          <p:cNvGraphicFramePr>
            <a:graphicFrameLocks noGrp="1"/>
          </p:cNvGraphicFramePr>
          <p:nvPr>
            <p:ph idx="13"/>
            <p:extLst>
              <p:ext uri="{D42A27DB-BD31-4B8C-83A1-F6EECF244321}">
                <p14:modId xmlns:p14="http://schemas.microsoft.com/office/powerpoint/2010/main" val="3819442135"/>
              </p:ext>
            </p:extLst>
          </p:nvPr>
        </p:nvGraphicFramePr>
        <p:xfrm>
          <a:off x="6376894" y="1082936"/>
          <a:ext cx="5457143" cy="475942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7" name="Slide Number Placeholder 16">
            <a:extLst>
              <a:ext uri="{FF2B5EF4-FFF2-40B4-BE49-F238E27FC236}">
                <a16:creationId xmlns:a16="http://schemas.microsoft.com/office/drawing/2014/main" id="{22F74978-F3FA-4A57-8150-733672DA90CF}"/>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59187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C3F27-B47B-4D56-BEBD-91E9F93B2D7C}"/>
              </a:ext>
            </a:extLst>
          </p:cNvPr>
          <p:cNvSpPr>
            <a:spLocks noGrp="1"/>
          </p:cNvSpPr>
          <p:nvPr>
            <p:ph type="title"/>
          </p:nvPr>
        </p:nvSpPr>
        <p:spPr/>
        <p:txBody>
          <a:bodyPr/>
          <a:lstStyle/>
          <a:p>
            <a:r>
              <a:rPr lang="en-US" dirty="0"/>
              <a:t>Who Do Accommodation Considerations Help?</a:t>
            </a:r>
          </a:p>
        </p:txBody>
      </p:sp>
      <p:graphicFrame>
        <p:nvGraphicFramePr>
          <p:cNvPr id="41" name="Diagram 40" descr="table listing who accommodations can benefit: students who use them in class, are served by 504, ARD, or LPAC committees, or who require emergency supports for testing.">
            <a:extLst>
              <a:ext uri="{FF2B5EF4-FFF2-40B4-BE49-F238E27FC236}">
                <a16:creationId xmlns:a16="http://schemas.microsoft.com/office/drawing/2014/main" id="{C2CE0E56-3D87-45FC-9DEA-1E56E038F6F7}"/>
              </a:ext>
            </a:extLst>
          </p:cNvPr>
          <p:cNvGraphicFramePr/>
          <p:nvPr>
            <p:extLst>
              <p:ext uri="{D42A27DB-BD31-4B8C-83A1-F6EECF244321}">
                <p14:modId xmlns:p14="http://schemas.microsoft.com/office/powerpoint/2010/main" val="583179712"/>
              </p:ext>
            </p:extLst>
          </p:nvPr>
        </p:nvGraphicFramePr>
        <p:xfrm>
          <a:off x="457199" y="1021360"/>
          <a:ext cx="11234057" cy="43077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Slide Number Placeholder 14">
            <a:extLst>
              <a:ext uri="{FF2B5EF4-FFF2-40B4-BE49-F238E27FC236}">
                <a16:creationId xmlns:a16="http://schemas.microsoft.com/office/drawing/2014/main" id="{5D7CAAA4-0634-4B88-985B-E5141B1701E6}"/>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600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19003-B2AB-4130-A1B1-B11FC87B6AE4}"/>
              </a:ext>
            </a:extLst>
          </p:cNvPr>
          <p:cNvSpPr>
            <a:spLocks noGrp="1"/>
          </p:cNvSpPr>
          <p:nvPr>
            <p:ph type="title"/>
          </p:nvPr>
        </p:nvSpPr>
        <p:spPr>
          <a:xfrm>
            <a:off x="712380" y="292378"/>
            <a:ext cx="11121657" cy="751350"/>
          </a:xfrm>
        </p:spPr>
        <p:txBody>
          <a:bodyPr>
            <a:normAutofit fontScale="90000"/>
          </a:bodyPr>
          <a:lstStyle/>
          <a:p>
            <a:r>
              <a:rPr lang="en-US" sz="4000" dirty="0"/>
              <a:t>What Do “Accommodations” Look Like in Assessments?</a:t>
            </a:r>
            <a:br>
              <a:rPr lang="en-US" dirty="0"/>
            </a:br>
            <a:endParaRPr lang="en-US" dirty="0"/>
          </a:p>
        </p:txBody>
      </p:sp>
      <p:graphicFrame>
        <p:nvGraphicFramePr>
          <p:cNvPr id="7" name="Table 6" descr="table">
            <a:extLst>
              <a:ext uri="{FF2B5EF4-FFF2-40B4-BE49-F238E27FC236}">
                <a16:creationId xmlns:a16="http://schemas.microsoft.com/office/drawing/2014/main" id="{A995D6D2-1879-4A36-8D77-C8D240C62308}"/>
              </a:ext>
            </a:extLst>
          </p:cNvPr>
          <p:cNvGraphicFramePr>
            <a:graphicFrameLocks noGrp="1"/>
          </p:cNvGraphicFramePr>
          <p:nvPr>
            <p:extLst>
              <p:ext uri="{D42A27DB-BD31-4B8C-83A1-F6EECF244321}">
                <p14:modId xmlns:p14="http://schemas.microsoft.com/office/powerpoint/2010/main" val="809336746"/>
              </p:ext>
            </p:extLst>
          </p:nvPr>
        </p:nvGraphicFramePr>
        <p:xfrm>
          <a:off x="6525588" y="785929"/>
          <a:ext cx="4897683" cy="5057717"/>
        </p:xfrm>
        <a:graphic>
          <a:graphicData uri="http://schemas.openxmlformats.org/drawingml/2006/table">
            <a:tbl>
              <a:tblPr firstRow="1" firstCol="1" bandRow="1"/>
              <a:tblGrid>
                <a:gridCol w="1273995">
                  <a:extLst>
                    <a:ext uri="{9D8B030D-6E8A-4147-A177-3AD203B41FA5}">
                      <a16:colId xmlns:a16="http://schemas.microsoft.com/office/drawing/2014/main" val="859471539"/>
                    </a:ext>
                  </a:extLst>
                </a:gridCol>
                <a:gridCol w="1219156">
                  <a:extLst>
                    <a:ext uri="{9D8B030D-6E8A-4147-A177-3AD203B41FA5}">
                      <a16:colId xmlns:a16="http://schemas.microsoft.com/office/drawing/2014/main" val="1267517060"/>
                    </a:ext>
                  </a:extLst>
                </a:gridCol>
                <a:gridCol w="1202032">
                  <a:extLst>
                    <a:ext uri="{9D8B030D-6E8A-4147-A177-3AD203B41FA5}">
                      <a16:colId xmlns:a16="http://schemas.microsoft.com/office/drawing/2014/main" val="1370289607"/>
                    </a:ext>
                  </a:extLst>
                </a:gridCol>
                <a:gridCol w="1202500">
                  <a:extLst>
                    <a:ext uri="{9D8B030D-6E8A-4147-A177-3AD203B41FA5}">
                      <a16:colId xmlns:a16="http://schemas.microsoft.com/office/drawing/2014/main" val="3433767598"/>
                    </a:ext>
                  </a:extLst>
                </a:gridCol>
              </a:tblGrid>
              <a:tr h="198708">
                <a:tc>
                  <a:txBody>
                    <a:bodyPr/>
                    <a:lstStyle/>
                    <a:p>
                      <a:pPr marL="0" marR="0" algn="ctr">
                        <a:lnSpc>
                          <a:spcPct val="106000"/>
                        </a:lnSpc>
                        <a:spcBef>
                          <a:spcPts val="0"/>
                        </a:spcBef>
                        <a:spcAft>
                          <a:spcPts val="0"/>
                        </a:spcAft>
                      </a:pPr>
                      <a:r>
                        <a:rPr lang="en-US" sz="1050" kern="1200" dirty="0">
                          <a:solidFill>
                            <a:srgbClr val="FFFFFF"/>
                          </a:solidFill>
                          <a:effectLst/>
                          <a:latin typeface="Calibri"/>
                          <a:ea typeface="Calibri"/>
                          <a:cs typeface="Times New Roman"/>
                        </a:rPr>
                        <a:t>Designated Support</a:t>
                      </a:r>
                      <a:endParaRPr lang="en-US" sz="1000" dirty="0">
                        <a:effectLst/>
                        <a:latin typeface="Calibri"/>
                        <a:ea typeface="Calibri"/>
                        <a:cs typeface="Times New Roman"/>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3864"/>
                    </a:solidFill>
                  </a:tcPr>
                </a:tc>
                <a:tc gridSpan="3">
                  <a:txBody>
                    <a:bodyPr/>
                    <a:lstStyle/>
                    <a:p>
                      <a:pPr marL="0" marR="0" algn="ctr">
                        <a:lnSpc>
                          <a:spcPct val="106000"/>
                        </a:lnSpc>
                        <a:spcBef>
                          <a:spcPts val="0"/>
                        </a:spcBef>
                        <a:spcAft>
                          <a:spcPts val="0"/>
                        </a:spcAft>
                      </a:pPr>
                      <a:r>
                        <a:rPr lang="en-US" sz="1050" kern="1200">
                          <a:solidFill>
                            <a:srgbClr val="FFFFFF"/>
                          </a:solidFill>
                          <a:effectLst/>
                          <a:latin typeface="Calibri"/>
                          <a:ea typeface="Calibri"/>
                          <a:cs typeface="Times New Roman"/>
                        </a:rPr>
                        <a:t>Program</a:t>
                      </a:r>
                      <a:endParaRPr lang="en-US" sz="10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3864"/>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79244271"/>
                  </a:ext>
                </a:extLst>
              </a:tr>
              <a:tr h="224630">
                <a:tc>
                  <a:txBody>
                    <a:bodyPr/>
                    <a:lstStyle/>
                    <a:p>
                      <a:pPr marL="0" marR="0" algn="ctr">
                        <a:lnSpc>
                          <a:spcPct val="106000"/>
                        </a:lnSpc>
                        <a:spcBef>
                          <a:spcPts val="0"/>
                        </a:spcBef>
                        <a:spcAft>
                          <a:spcPts val="0"/>
                        </a:spcAft>
                      </a:pPr>
                      <a:endParaRPr lang="en-US" sz="700">
                        <a:effectLst/>
                        <a:latin typeface="Arial"/>
                        <a:ea typeface="Calibri" panose="020F0502020204030204" pitchFamily="34" charset="0"/>
                        <a:cs typeface="Times New Roman"/>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6000"/>
                        </a:lnSpc>
                        <a:spcBef>
                          <a:spcPts val="0"/>
                        </a:spcBef>
                        <a:spcAft>
                          <a:spcPts val="0"/>
                        </a:spcAft>
                      </a:pPr>
                      <a:r>
                        <a:rPr lang="en-US" sz="1050" b="1">
                          <a:solidFill>
                            <a:srgbClr val="000000"/>
                          </a:solidFill>
                          <a:effectLst/>
                          <a:latin typeface="Calibri"/>
                          <a:ea typeface="Times New Roman" panose="02020603050405020304" pitchFamily="18" charset="0"/>
                          <a:cs typeface="Calibri"/>
                        </a:rPr>
                        <a:t>STAAR</a:t>
                      </a:r>
                      <a:endParaRPr lang="en-US" sz="105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ADB"/>
                    </a:solidFill>
                  </a:tcPr>
                </a:tc>
                <a:tc>
                  <a:txBody>
                    <a:bodyPr/>
                    <a:lstStyle/>
                    <a:p>
                      <a:pPr marL="0" marR="0" algn="ctr">
                        <a:lnSpc>
                          <a:spcPct val="106000"/>
                        </a:lnSpc>
                        <a:spcBef>
                          <a:spcPts val="0"/>
                        </a:spcBef>
                        <a:spcAft>
                          <a:spcPts val="0"/>
                        </a:spcAft>
                      </a:pPr>
                      <a:r>
                        <a:rPr lang="en-US" sz="1050" b="1">
                          <a:solidFill>
                            <a:srgbClr val="000000"/>
                          </a:solidFill>
                          <a:effectLst/>
                          <a:latin typeface="Calibri"/>
                          <a:ea typeface="Times New Roman" panose="02020603050405020304" pitchFamily="18" charset="0"/>
                          <a:cs typeface="Calibri"/>
                        </a:rPr>
                        <a:t>STAAR Spanish</a:t>
                      </a:r>
                      <a:endParaRPr lang="en-US" sz="105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ADB"/>
                    </a:solidFill>
                  </a:tcPr>
                </a:tc>
                <a:tc>
                  <a:txBody>
                    <a:bodyPr/>
                    <a:lstStyle/>
                    <a:p>
                      <a:pPr marL="0" marR="0" algn="ctr">
                        <a:lnSpc>
                          <a:spcPct val="106000"/>
                        </a:lnSpc>
                        <a:spcBef>
                          <a:spcPts val="0"/>
                        </a:spcBef>
                        <a:spcAft>
                          <a:spcPts val="0"/>
                        </a:spcAft>
                      </a:pPr>
                      <a:r>
                        <a:rPr lang="en-US" sz="1050" b="1" dirty="0">
                          <a:solidFill>
                            <a:srgbClr val="000000"/>
                          </a:solidFill>
                          <a:effectLst/>
                          <a:latin typeface="Calibri"/>
                          <a:ea typeface="Times New Roman" panose="02020603050405020304" pitchFamily="18" charset="0"/>
                          <a:cs typeface="Calibri"/>
                        </a:rPr>
                        <a:t>TELPAS</a:t>
                      </a:r>
                      <a:endParaRPr lang="en-US" sz="1050" dirty="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ADB"/>
                    </a:solidFill>
                  </a:tcPr>
                </a:tc>
                <a:extLst>
                  <a:ext uri="{0D108BD9-81ED-4DB2-BD59-A6C34878D82A}">
                    <a16:rowId xmlns:a16="http://schemas.microsoft.com/office/drawing/2014/main" val="3692082194"/>
                  </a:ext>
                </a:extLst>
              </a:tr>
              <a:tr h="217180">
                <a:tc>
                  <a:txBody>
                    <a:bodyPr/>
                    <a:lstStyle/>
                    <a:p>
                      <a:pPr marL="0" marR="0">
                        <a:lnSpc>
                          <a:spcPct val="106000"/>
                        </a:lnSpc>
                        <a:spcBef>
                          <a:spcPts val="0"/>
                        </a:spcBef>
                        <a:spcAft>
                          <a:spcPts val="0"/>
                        </a:spcAft>
                      </a:pPr>
                      <a:r>
                        <a:rPr lang="en-US" sz="800" b="1" kern="1200">
                          <a:solidFill>
                            <a:srgbClr val="000000"/>
                          </a:solidFill>
                          <a:effectLst/>
                          <a:latin typeface="Calibri"/>
                          <a:ea typeface="Calibri"/>
                          <a:cs typeface="Times New Roman"/>
                        </a:rPr>
                        <a:t>Basic Transcribing</a:t>
                      </a:r>
                      <a:endParaRPr lang="en-US" sz="800">
                        <a:effectLst/>
                        <a:latin typeface="Calibri"/>
                        <a:ea typeface="Calibri"/>
                        <a:cs typeface="Times New Roman"/>
                      </a:endParaRPr>
                    </a:p>
                    <a:p>
                      <a:pPr marL="0" marR="0">
                        <a:lnSpc>
                          <a:spcPct val="106000"/>
                        </a:lnSpc>
                        <a:spcBef>
                          <a:spcPts val="0"/>
                        </a:spcBef>
                        <a:spcAft>
                          <a:spcPts val="0"/>
                        </a:spcAf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2097487"/>
                  </a:ext>
                </a:extLst>
              </a:tr>
              <a:tr h="305313">
                <a:tc>
                  <a:txBody>
                    <a:bodyPr/>
                    <a:lstStyle/>
                    <a:p>
                      <a:pPr marL="0" marR="0">
                        <a:lnSpc>
                          <a:spcPct val="106000"/>
                        </a:lnSpc>
                        <a:spcBef>
                          <a:spcPts val="0"/>
                        </a:spcBef>
                        <a:spcAft>
                          <a:spcPts val="0"/>
                        </a:spcAft>
                      </a:pPr>
                      <a:r>
                        <a:rPr lang="en-US" sz="800" b="1" kern="1200" dirty="0">
                          <a:solidFill>
                            <a:srgbClr val="000000"/>
                          </a:solidFill>
                          <a:effectLst/>
                          <a:latin typeface="Calibri"/>
                          <a:ea typeface="Calibri"/>
                          <a:cs typeface="Times New Roman"/>
                        </a:rPr>
                        <a:t>Braille /Refreshable Braille</a:t>
                      </a:r>
                      <a:endParaRPr lang="en-US" sz="800" dirty="0">
                        <a:effectLst/>
                        <a:latin typeface="Calibri"/>
                        <a:ea typeface="Calibri"/>
                        <a:cs typeface="Times New Roman"/>
                      </a:endParaRPr>
                    </a:p>
                    <a:p>
                      <a:pPr marL="0" marR="0">
                        <a:lnSpc>
                          <a:spcPct val="106000"/>
                        </a:lnSpc>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7171"/>
                    </a:solidFill>
                  </a:tcPr>
                </a:tc>
                <a:tc>
                  <a:txBody>
                    <a:bodyPr/>
                    <a:lstStyle/>
                    <a:p>
                      <a:pPr marL="0" marR="0" algn="ctr">
                        <a:lnSpc>
                          <a:spcPct val="106000"/>
                        </a:lnSpc>
                        <a:spcBef>
                          <a:spcPts val="0"/>
                        </a:spcBef>
                        <a:spcAft>
                          <a:spcPts val="0"/>
                        </a:spcAft>
                      </a:pP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7171"/>
                    </a:solidFill>
                  </a:tcPr>
                </a:tc>
                <a:extLst>
                  <a:ext uri="{0D108BD9-81ED-4DB2-BD59-A6C34878D82A}">
                    <a16:rowId xmlns:a16="http://schemas.microsoft.com/office/drawing/2014/main" val="116632083"/>
                  </a:ext>
                </a:extLst>
              </a:tr>
              <a:tr h="305313">
                <a:tc>
                  <a:txBody>
                    <a:bodyPr/>
                    <a:lstStyle/>
                    <a:p>
                      <a:pPr marL="0" marR="0">
                        <a:lnSpc>
                          <a:spcPct val="106000"/>
                        </a:lnSpc>
                        <a:spcBef>
                          <a:spcPts val="0"/>
                        </a:spcBef>
                        <a:spcAft>
                          <a:spcPts val="0"/>
                        </a:spcAft>
                      </a:pPr>
                      <a:r>
                        <a:rPr lang="en-US" sz="800" b="1" kern="1200">
                          <a:solidFill>
                            <a:srgbClr val="000000"/>
                          </a:solidFill>
                          <a:effectLst/>
                          <a:latin typeface="Calibri"/>
                          <a:ea typeface="Calibri"/>
                          <a:cs typeface="Times New Roman"/>
                        </a:rPr>
                        <a:t>Calculation Aids</a:t>
                      </a:r>
                      <a:endParaRPr lang="en-US" sz="800">
                        <a:effectLst/>
                        <a:latin typeface="Calibri"/>
                        <a:ea typeface="Calibri"/>
                        <a:cs typeface="Times New Roman"/>
                      </a:endParaRPr>
                    </a:p>
                    <a:p>
                      <a:pPr marL="0" marR="0">
                        <a:lnSpc>
                          <a:spcPct val="106000"/>
                        </a:lnSpc>
                        <a:spcBef>
                          <a:spcPts val="0"/>
                        </a:spcBef>
                        <a:spcAft>
                          <a:spcPts val="0"/>
                        </a:spcAf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6000"/>
                        </a:lnSpc>
                        <a:spcBef>
                          <a:spcPts val="0"/>
                        </a:spcBef>
                        <a:spcAft>
                          <a:spcPts val="0"/>
                        </a:spcAft>
                      </a:pP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7171"/>
                    </a:solidFill>
                  </a:tcPr>
                </a:tc>
                <a:extLst>
                  <a:ext uri="{0D108BD9-81ED-4DB2-BD59-A6C34878D82A}">
                    <a16:rowId xmlns:a16="http://schemas.microsoft.com/office/drawing/2014/main" val="4026346324"/>
                  </a:ext>
                </a:extLst>
              </a:tr>
              <a:tr h="457336">
                <a:tc>
                  <a:txBody>
                    <a:bodyPr/>
                    <a:lstStyle/>
                    <a:p>
                      <a:pPr marL="0" marR="0">
                        <a:lnSpc>
                          <a:spcPct val="106000"/>
                        </a:lnSpc>
                        <a:spcBef>
                          <a:spcPts val="0"/>
                        </a:spcBef>
                        <a:spcAft>
                          <a:spcPts val="0"/>
                        </a:spcAft>
                      </a:pPr>
                      <a:r>
                        <a:rPr lang="en-US" sz="800" b="1" kern="1200" dirty="0">
                          <a:solidFill>
                            <a:srgbClr val="000000"/>
                          </a:solidFill>
                          <a:effectLst/>
                          <a:latin typeface="Calibri"/>
                          <a:ea typeface="Calibri"/>
                          <a:cs typeface="Times New Roman"/>
                        </a:rPr>
                        <a:t>Content and Language Supports</a:t>
                      </a:r>
                      <a:endParaRPr lang="en-US" sz="800" dirty="0">
                        <a:effectLst/>
                        <a:latin typeface="Calibri"/>
                        <a:ea typeface="Calibri"/>
                        <a:cs typeface="Times New Roman"/>
                      </a:endParaRPr>
                    </a:p>
                    <a:p>
                      <a:pPr marL="0" marR="0">
                        <a:lnSpc>
                          <a:spcPct val="106000"/>
                        </a:lnSpc>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7171"/>
                    </a:solidFill>
                  </a:tcPr>
                </a:tc>
                <a:extLst>
                  <a:ext uri="{0D108BD9-81ED-4DB2-BD59-A6C34878D82A}">
                    <a16:rowId xmlns:a16="http://schemas.microsoft.com/office/drawing/2014/main" val="2729625757"/>
                  </a:ext>
                </a:extLst>
              </a:tr>
              <a:tr h="457336">
                <a:tc>
                  <a:txBody>
                    <a:bodyPr/>
                    <a:lstStyle/>
                    <a:p>
                      <a:pPr marL="0" marR="0">
                        <a:lnSpc>
                          <a:spcPct val="106000"/>
                        </a:lnSpc>
                        <a:spcBef>
                          <a:spcPts val="0"/>
                        </a:spcBef>
                        <a:spcAft>
                          <a:spcPts val="0"/>
                        </a:spcAft>
                      </a:pPr>
                      <a:r>
                        <a:rPr lang="en-US" sz="800" b="1" kern="1200">
                          <a:solidFill>
                            <a:srgbClr val="000000"/>
                          </a:solidFill>
                          <a:effectLst/>
                          <a:latin typeface="Calibri"/>
                          <a:ea typeface="Calibri"/>
                          <a:cs typeface="Times New Roman"/>
                        </a:rPr>
                        <a:t>Individualized Structured Reminders</a:t>
                      </a:r>
                      <a:endParaRPr lang="en-US" sz="800">
                        <a:effectLst/>
                        <a:latin typeface="Calibri"/>
                        <a:ea typeface="Calibri"/>
                        <a:cs typeface="Times New Roman"/>
                      </a:endParaRPr>
                    </a:p>
                    <a:p>
                      <a:pPr marL="0" marR="0">
                        <a:lnSpc>
                          <a:spcPct val="106000"/>
                        </a:lnSpc>
                        <a:spcBef>
                          <a:spcPts val="0"/>
                        </a:spcBef>
                        <a:spcAft>
                          <a:spcPts val="0"/>
                        </a:spcAf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01747435"/>
                  </a:ext>
                </a:extLst>
              </a:tr>
              <a:tr h="305313">
                <a:tc>
                  <a:txBody>
                    <a:bodyPr/>
                    <a:lstStyle/>
                    <a:p>
                      <a:pPr marL="0" marR="0">
                        <a:lnSpc>
                          <a:spcPct val="106000"/>
                        </a:lnSpc>
                        <a:spcBef>
                          <a:spcPts val="0"/>
                        </a:spcBef>
                        <a:spcAft>
                          <a:spcPts val="0"/>
                        </a:spcAft>
                      </a:pPr>
                      <a:r>
                        <a:rPr lang="en-US" sz="800" b="1" kern="1200">
                          <a:solidFill>
                            <a:srgbClr val="000000"/>
                          </a:solidFill>
                          <a:effectLst/>
                          <a:latin typeface="Calibri"/>
                          <a:ea typeface="Calibri"/>
                          <a:cs typeface="Times New Roman"/>
                        </a:rPr>
                        <a:t>Large Print</a:t>
                      </a:r>
                      <a:endParaRPr lang="en-US" sz="800">
                        <a:effectLst/>
                        <a:latin typeface="Calibri"/>
                        <a:ea typeface="Calibri"/>
                        <a:cs typeface="Times New Roman"/>
                      </a:endParaRPr>
                    </a:p>
                    <a:p>
                      <a:pPr marL="0" marR="0">
                        <a:lnSpc>
                          <a:spcPct val="106000"/>
                        </a:lnSpc>
                        <a:spcBef>
                          <a:spcPts val="0"/>
                        </a:spcBef>
                        <a:spcAft>
                          <a:spcPts val="0"/>
                        </a:spcAf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414990937"/>
                  </a:ext>
                </a:extLst>
              </a:tr>
              <a:tr h="429614">
                <a:tc>
                  <a:txBody>
                    <a:bodyPr/>
                    <a:lstStyle/>
                    <a:p>
                      <a:pPr marL="0" marR="0">
                        <a:lnSpc>
                          <a:spcPct val="106000"/>
                        </a:lnSpc>
                        <a:spcBef>
                          <a:spcPts val="0"/>
                        </a:spcBef>
                        <a:spcAft>
                          <a:spcPts val="0"/>
                        </a:spcAft>
                      </a:pPr>
                      <a:r>
                        <a:rPr lang="en-US" sz="800" b="1" kern="1200">
                          <a:solidFill>
                            <a:srgbClr val="000000"/>
                          </a:solidFill>
                          <a:effectLst/>
                          <a:latin typeface="Calibri"/>
                          <a:ea typeface="Calibri"/>
                          <a:cs typeface="Times New Roman"/>
                        </a:rPr>
                        <a:t>Manipulating Test Materials</a:t>
                      </a:r>
                      <a:endParaRPr lang="en-US" sz="800">
                        <a:effectLst/>
                        <a:latin typeface="Calibri"/>
                        <a:ea typeface="Calibri"/>
                        <a:cs typeface="Times New Roman"/>
                      </a:endParaRPr>
                    </a:p>
                    <a:p>
                      <a:pPr marL="0" marR="0">
                        <a:lnSpc>
                          <a:spcPct val="106000"/>
                        </a:lnSpc>
                        <a:spcBef>
                          <a:spcPts val="0"/>
                        </a:spcBef>
                        <a:spcAft>
                          <a:spcPts val="0"/>
                        </a:spcAf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26722391"/>
                  </a:ext>
                </a:extLst>
              </a:tr>
              <a:tr h="429614">
                <a:tc>
                  <a:txBody>
                    <a:bodyPr/>
                    <a:lstStyle/>
                    <a:p>
                      <a:pPr marL="0" marR="0">
                        <a:lnSpc>
                          <a:spcPct val="106000"/>
                        </a:lnSpc>
                        <a:spcBef>
                          <a:spcPts val="0"/>
                        </a:spcBef>
                        <a:spcAft>
                          <a:spcPts val="0"/>
                        </a:spcAft>
                      </a:pPr>
                      <a:r>
                        <a:rPr lang="en-US" sz="800" b="1" kern="1200">
                          <a:solidFill>
                            <a:srgbClr val="000000"/>
                          </a:solidFill>
                          <a:effectLst/>
                          <a:latin typeface="Calibri"/>
                          <a:ea typeface="Calibri"/>
                          <a:cs typeface="Times New Roman"/>
                        </a:rPr>
                        <a:t>Mathematics Manipulatives</a:t>
                      </a:r>
                      <a:endParaRPr lang="en-US" sz="800">
                        <a:effectLst/>
                        <a:latin typeface="Calibri"/>
                        <a:ea typeface="Calibri"/>
                        <a:cs typeface="Times New Roman"/>
                      </a:endParaRPr>
                    </a:p>
                    <a:p>
                      <a:pPr marL="0" marR="0">
                        <a:lnSpc>
                          <a:spcPct val="106000"/>
                        </a:lnSpc>
                        <a:spcBef>
                          <a:spcPts val="0"/>
                        </a:spcBef>
                        <a:spcAft>
                          <a:spcPts val="0"/>
                        </a:spcAft>
                      </a:pP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nSpc>
                          <a:spcPct val="106000"/>
                        </a:lnSpc>
                        <a:spcBef>
                          <a:spcPts val="0"/>
                        </a:spcBef>
                        <a:spcAft>
                          <a:spcPts val="0"/>
                        </a:spcAft>
                      </a:pP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7171"/>
                    </a:solidFill>
                  </a:tcPr>
                </a:tc>
                <a:extLst>
                  <a:ext uri="{0D108BD9-81ED-4DB2-BD59-A6C34878D82A}">
                    <a16:rowId xmlns:a16="http://schemas.microsoft.com/office/drawing/2014/main" val="358660175"/>
                  </a:ext>
                </a:extLst>
              </a:tr>
              <a:tr h="305313">
                <a:tc>
                  <a:txBody>
                    <a:bodyPr/>
                    <a:lstStyle/>
                    <a:p>
                      <a:pPr marL="0" marR="0">
                        <a:lnSpc>
                          <a:spcPct val="106000"/>
                        </a:lnSpc>
                        <a:spcBef>
                          <a:spcPts val="0"/>
                        </a:spcBef>
                        <a:spcAft>
                          <a:spcPts val="0"/>
                        </a:spcAft>
                      </a:pPr>
                      <a:r>
                        <a:rPr lang="en-US" sz="800" b="1" kern="1200" dirty="0">
                          <a:solidFill>
                            <a:srgbClr val="000000"/>
                          </a:solidFill>
                          <a:effectLst/>
                          <a:latin typeface="Calibri"/>
                          <a:ea typeface="Calibri"/>
                          <a:cs typeface="Times New Roman"/>
                        </a:rPr>
                        <a:t>Oral/Signed Administration</a:t>
                      </a:r>
                      <a:endParaRPr lang="en-US" sz="800" dirty="0">
                        <a:effectLst/>
                        <a:latin typeface="Calibri"/>
                        <a:ea typeface="Calibri"/>
                        <a:cs typeface="Times New Roman"/>
                      </a:endParaRPr>
                    </a:p>
                    <a:p>
                      <a:pPr marL="0" marR="0">
                        <a:lnSpc>
                          <a:spcPct val="106000"/>
                        </a:lnSpc>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nSpc>
                          <a:spcPct val="106000"/>
                        </a:lnSpc>
                        <a:spcBef>
                          <a:spcPts val="0"/>
                        </a:spcBef>
                        <a:spcAft>
                          <a:spcPts val="0"/>
                        </a:spcAft>
                      </a:pP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7171"/>
                    </a:solidFill>
                  </a:tcPr>
                </a:tc>
                <a:extLst>
                  <a:ext uri="{0D108BD9-81ED-4DB2-BD59-A6C34878D82A}">
                    <a16:rowId xmlns:a16="http://schemas.microsoft.com/office/drawing/2014/main" val="2860897688"/>
                  </a:ext>
                </a:extLst>
              </a:tr>
              <a:tr h="305313">
                <a:tc>
                  <a:txBody>
                    <a:bodyPr/>
                    <a:lstStyle/>
                    <a:p>
                      <a:pPr marL="0" marR="0">
                        <a:lnSpc>
                          <a:spcPct val="106000"/>
                        </a:lnSpc>
                        <a:spcBef>
                          <a:spcPts val="0"/>
                        </a:spcBef>
                        <a:spcAft>
                          <a:spcPts val="0"/>
                        </a:spcAft>
                      </a:pPr>
                      <a:r>
                        <a:rPr lang="en-US" sz="800" b="1" kern="1200" dirty="0">
                          <a:solidFill>
                            <a:srgbClr val="000000"/>
                          </a:solidFill>
                          <a:effectLst/>
                          <a:latin typeface="Calibri"/>
                          <a:ea typeface="Calibri"/>
                          <a:cs typeface="Times New Roman"/>
                        </a:rPr>
                        <a:t>Spelling Assistance</a:t>
                      </a:r>
                      <a:endParaRPr lang="en-US" sz="800" dirty="0">
                        <a:effectLst/>
                        <a:latin typeface="Calibri"/>
                        <a:ea typeface="Calibri"/>
                        <a:cs typeface="Times New Roman"/>
                      </a:endParaRPr>
                    </a:p>
                    <a:p>
                      <a:pPr marL="0" marR="0">
                        <a:lnSpc>
                          <a:spcPct val="106000"/>
                        </a:lnSpc>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nSpc>
                          <a:spcPct val="106000"/>
                        </a:lnSpc>
                        <a:spcBef>
                          <a:spcPts val="0"/>
                        </a:spcBef>
                        <a:spcAft>
                          <a:spcPts val="0"/>
                        </a:spcAft>
                      </a:pP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7171"/>
                    </a:solidFill>
                  </a:tcPr>
                </a:tc>
                <a:extLst>
                  <a:ext uri="{0D108BD9-81ED-4DB2-BD59-A6C34878D82A}">
                    <a16:rowId xmlns:a16="http://schemas.microsoft.com/office/drawing/2014/main" val="1769244553"/>
                  </a:ext>
                </a:extLst>
              </a:tr>
              <a:tr h="305313">
                <a:tc>
                  <a:txBody>
                    <a:bodyPr/>
                    <a:lstStyle/>
                    <a:p>
                      <a:pPr marL="0" marR="0">
                        <a:lnSpc>
                          <a:spcPct val="106000"/>
                        </a:lnSpc>
                        <a:spcBef>
                          <a:spcPts val="0"/>
                        </a:spcBef>
                        <a:spcAft>
                          <a:spcPts val="0"/>
                        </a:spcAft>
                      </a:pPr>
                      <a:r>
                        <a:rPr lang="en-US" sz="800" b="1" kern="1200" dirty="0">
                          <a:solidFill>
                            <a:srgbClr val="000000"/>
                          </a:solidFill>
                          <a:effectLst/>
                          <a:latin typeface="Calibri"/>
                          <a:ea typeface="Calibri"/>
                          <a:cs typeface="Times New Roman"/>
                        </a:rPr>
                        <a:t>Supplemental Aids</a:t>
                      </a:r>
                      <a:endParaRPr lang="en-US" sz="800" dirty="0">
                        <a:effectLst/>
                        <a:latin typeface="Calibri"/>
                        <a:ea typeface="Calibri"/>
                        <a:cs typeface="Times New Roman"/>
                      </a:endParaRPr>
                    </a:p>
                    <a:p>
                      <a:pPr marL="0" marR="0">
                        <a:lnSpc>
                          <a:spcPct val="106000"/>
                        </a:lnSpc>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700" b="1" kern="1200" dirty="0">
                          <a:solidFill>
                            <a:srgbClr val="000000"/>
                          </a:solidFill>
                          <a:effectLst/>
                          <a:latin typeface="Calibri"/>
                          <a:ea typeface="Calibri"/>
                          <a:cs typeface="Times New Roman"/>
                        </a:rPr>
                        <a:t> </a:t>
                      </a:r>
                      <a:r>
                        <a:rPr lang="en-US" sz="1000" b="1" kern="1200" dirty="0">
                          <a:solidFill>
                            <a:srgbClr val="000000"/>
                          </a:solidFill>
                          <a:effectLst/>
                          <a:latin typeface="Calibri"/>
                          <a:ea typeface="Calibri"/>
                          <a:cs typeface="Times New Roman"/>
                        </a:rPr>
                        <a:t>X</a:t>
                      </a:r>
                      <a:endParaRPr lang="en-US" sz="10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65065574"/>
                  </a:ext>
                </a:extLst>
              </a:tr>
              <a:tr h="181979">
                <a:tc>
                  <a:txBody>
                    <a:bodyPr/>
                    <a:lstStyle/>
                    <a:p>
                      <a:pPr marL="0" marR="0">
                        <a:lnSpc>
                          <a:spcPct val="106000"/>
                        </a:lnSpc>
                        <a:spcBef>
                          <a:spcPts val="0"/>
                        </a:spcBef>
                        <a:spcAft>
                          <a:spcPts val="0"/>
                        </a:spcAft>
                      </a:pPr>
                      <a:r>
                        <a:rPr lang="en-US" sz="800" b="1" kern="1200" dirty="0">
                          <a:solidFill>
                            <a:srgbClr val="000000"/>
                          </a:solidFill>
                          <a:effectLst/>
                          <a:latin typeface="Calibri"/>
                          <a:ea typeface="Calibri"/>
                          <a:cs typeface="Times New Roman"/>
                        </a:rPr>
                        <a:t>Complex Transcribing</a:t>
                      </a:r>
                      <a:endParaRPr lang="en-US" sz="800" dirty="0">
                        <a:effectLst/>
                        <a:latin typeface="Calibri"/>
                        <a:ea typeface="Calibri"/>
                        <a:cs typeface="Times New Roman"/>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a:solidFill>
                            <a:srgbClr val="000000"/>
                          </a:solidFill>
                          <a:effectLst/>
                          <a:latin typeface="Calibri"/>
                          <a:ea typeface="Calibri"/>
                          <a:cs typeface="Times New Roman"/>
                        </a:rPr>
                        <a:t>X</a:t>
                      </a:r>
                      <a:endParaRPr lang="en-US" sz="70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kern="1200" dirty="0">
                          <a:solidFill>
                            <a:srgbClr val="000000"/>
                          </a:solidFill>
                          <a:effectLst/>
                          <a:latin typeface="Calibri"/>
                          <a:ea typeface="Calibri"/>
                          <a:cs typeface="Times New Roman"/>
                        </a:rPr>
                        <a:t>X</a:t>
                      </a:r>
                      <a:endParaRPr lang="en-US" sz="700" dirty="0">
                        <a:effectLst/>
                        <a:latin typeface="Calibri"/>
                        <a:ea typeface="Calibri"/>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271663518"/>
                  </a:ext>
                </a:extLst>
              </a:tr>
              <a:tr h="223144">
                <a:tc>
                  <a:txBody>
                    <a:bodyPr/>
                    <a:lstStyle/>
                    <a:p>
                      <a:pPr marL="0" marR="0">
                        <a:lnSpc>
                          <a:spcPct val="106000"/>
                        </a:lnSpc>
                        <a:spcBef>
                          <a:spcPts val="0"/>
                        </a:spcBef>
                        <a:spcAft>
                          <a:spcPts val="0"/>
                        </a:spcAft>
                      </a:pPr>
                      <a:r>
                        <a:rPr lang="en-US" sz="800" b="1" dirty="0">
                          <a:solidFill>
                            <a:srgbClr val="000000"/>
                          </a:solidFill>
                          <a:effectLst/>
                          <a:latin typeface="Calibri"/>
                          <a:ea typeface="Times New Roman" panose="02020603050405020304" pitchFamily="18" charset="0"/>
                          <a:cs typeface="Calibri"/>
                        </a:rPr>
                        <a:t>Extra Day</a:t>
                      </a:r>
                      <a:endParaRPr lang="en-US" sz="800" dirty="0">
                        <a:effectLst/>
                        <a:latin typeface="Times New Roman"/>
                        <a:ea typeface="Calibri" panose="020F0502020204030204" pitchFamily="34" charset="0"/>
                        <a:cs typeface="Calibri"/>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dirty="0">
                          <a:solidFill>
                            <a:srgbClr val="000000"/>
                          </a:solidFill>
                          <a:effectLst/>
                          <a:latin typeface="Calibri"/>
                          <a:ea typeface="Times New Roman" panose="02020603050405020304" pitchFamily="18" charset="0"/>
                          <a:cs typeface="Calibri"/>
                        </a:rPr>
                        <a:t>X</a:t>
                      </a:r>
                      <a:endParaRPr lang="en-US" sz="700" dirty="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dirty="0">
                          <a:solidFill>
                            <a:srgbClr val="000000"/>
                          </a:solidFill>
                          <a:effectLst/>
                          <a:latin typeface="Calibri"/>
                          <a:ea typeface="Times New Roman" panose="02020603050405020304" pitchFamily="18" charset="0"/>
                          <a:cs typeface="Calibri"/>
                        </a:rPr>
                        <a:t>X</a:t>
                      </a:r>
                      <a:endParaRPr lang="en-US" sz="700" dirty="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dirty="0">
                          <a:solidFill>
                            <a:srgbClr val="000000"/>
                          </a:solidFill>
                          <a:effectLst/>
                          <a:latin typeface="Calibri"/>
                          <a:ea typeface="Times New Roman" panose="02020603050405020304" pitchFamily="18" charset="0"/>
                          <a:cs typeface="Calibri"/>
                        </a:rPr>
                        <a:t>X</a:t>
                      </a:r>
                      <a:endParaRPr lang="en-US" sz="700" dirty="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91719441"/>
                  </a:ext>
                </a:extLst>
              </a:tr>
              <a:tr h="181979">
                <a:tc>
                  <a:txBody>
                    <a:bodyPr/>
                    <a:lstStyle/>
                    <a:p>
                      <a:pPr marL="0" marR="0">
                        <a:lnSpc>
                          <a:spcPct val="106000"/>
                        </a:lnSpc>
                        <a:spcBef>
                          <a:spcPts val="0"/>
                        </a:spcBef>
                        <a:spcAft>
                          <a:spcPts val="0"/>
                        </a:spcAft>
                      </a:pPr>
                      <a:r>
                        <a:rPr lang="en-US" sz="800" b="1">
                          <a:solidFill>
                            <a:srgbClr val="000000"/>
                          </a:solidFill>
                          <a:effectLst/>
                          <a:latin typeface="Calibri"/>
                          <a:ea typeface="Times New Roman" panose="02020603050405020304" pitchFamily="18" charset="0"/>
                          <a:cs typeface="Calibri"/>
                        </a:rPr>
                        <a:t>Mathematics Scribe</a:t>
                      </a:r>
                      <a:endParaRPr lang="en-US" sz="800">
                        <a:effectLst/>
                        <a:latin typeface="Times New Roman"/>
                        <a:ea typeface="Calibri" panose="020F0502020204030204" pitchFamily="34" charset="0"/>
                        <a:cs typeface="Calibri"/>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dirty="0">
                          <a:solidFill>
                            <a:srgbClr val="000000"/>
                          </a:solidFill>
                          <a:effectLst/>
                          <a:latin typeface="Calibri"/>
                          <a:ea typeface="Times New Roman" panose="02020603050405020304" pitchFamily="18" charset="0"/>
                          <a:cs typeface="Calibri"/>
                        </a:rPr>
                        <a:t>X</a:t>
                      </a:r>
                      <a:endParaRPr lang="en-US" sz="700" dirty="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r>
                        <a:rPr lang="en-US" sz="1000" b="1" dirty="0">
                          <a:solidFill>
                            <a:srgbClr val="000000"/>
                          </a:solidFill>
                          <a:effectLst/>
                          <a:latin typeface="Calibri"/>
                          <a:ea typeface="Times New Roman" panose="02020603050405020304" pitchFamily="18" charset="0"/>
                          <a:cs typeface="Calibri"/>
                        </a:rPr>
                        <a:t>X</a:t>
                      </a:r>
                      <a:endParaRPr lang="en-US" sz="700" dirty="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6000"/>
                        </a:lnSpc>
                        <a:spcBef>
                          <a:spcPts val="0"/>
                        </a:spcBef>
                        <a:spcAft>
                          <a:spcPts val="0"/>
                        </a:spcAft>
                      </a:pPr>
                      <a:endParaRPr lang="en-US" sz="700">
                        <a:effectLst/>
                        <a:latin typeface="Calibri"/>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50000"/>
                      </a:schemeClr>
                    </a:solidFill>
                  </a:tcPr>
                </a:tc>
                <a:extLst>
                  <a:ext uri="{0D108BD9-81ED-4DB2-BD59-A6C34878D82A}">
                    <a16:rowId xmlns:a16="http://schemas.microsoft.com/office/drawing/2014/main" val="1390152618"/>
                  </a:ext>
                </a:extLst>
              </a:tr>
              <a:tr h="181979">
                <a:tc>
                  <a:txBody>
                    <a:bodyPr/>
                    <a:lstStyle/>
                    <a:p>
                      <a:pPr marL="0" marR="0">
                        <a:lnSpc>
                          <a:spcPct val="106000"/>
                        </a:lnSpc>
                        <a:spcBef>
                          <a:spcPts val="0"/>
                        </a:spcBef>
                        <a:spcAft>
                          <a:spcPts val="0"/>
                        </a:spcAft>
                      </a:pPr>
                      <a:r>
                        <a:rPr lang="en-US" sz="800" b="1" dirty="0">
                          <a:solidFill>
                            <a:srgbClr val="000000"/>
                          </a:solidFill>
                          <a:effectLst/>
                          <a:latin typeface="Calibri"/>
                          <a:ea typeface="Times New Roman" panose="02020603050405020304" pitchFamily="18" charset="0"/>
                          <a:cs typeface="Calibri"/>
                        </a:rPr>
                        <a:t>Other</a:t>
                      </a:r>
                      <a:endParaRPr lang="en-US" sz="800" dirty="0">
                        <a:effectLst/>
                        <a:latin typeface="Times New Roman"/>
                        <a:ea typeface="Calibri" panose="020F0502020204030204" pitchFamily="34" charset="0"/>
                        <a:cs typeface="Calibri"/>
                      </a:endParaRPr>
                    </a:p>
                  </a:txBody>
                  <a:tcPr marL="46596" marR="46596" marT="647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dirty="0">
                          <a:solidFill>
                            <a:srgbClr val="000000"/>
                          </a:solidFill>
                          <a:effectLst/>
                          <a:latin typeface="Calibri"/>
                          <a:ea typeface="Times New Roman" panose="02020603050405020304" pitchFamily="18" charset="0"/>
                          <a:cs typeface="Calibri"/>
                        </a:rPr>
                        <a:t>X</a:t>
                      </a:r>
                      <a:endParaRPr lang="en-US" sz="700" dirty="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dirty="0">
                          <a:solidFill>
                            <a:srgbClr val="000000"/>
                          </a:solidFill>
                          <a:effectLst/>
                          <a:latin typeface="Calibri"/>
                          <a:ea typeface="Times New Roman" panose="02020603050405020304" pitchFamily="18" charset="0"/>
                          <a:cs typeface="Calibri"/>
                        </a:rPr>
                        <a:t>X</a:t>
                      </a:r>
                      <a:endParaRPr lang="en-US" sz="700" dirty="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6000"/>
                        </a:lnSpc>
                        <a:spcBef>
                          <a:spcPts val="0"/>
                        </a:spcBef>
                        <a:spcAft>
                          <a:spcPts val="0"/>
                        </a:spcAft>
                      </a:pPr>
                      <a:r>
                        <a:rPr lang="en-US" sz="1000" b="1" dirty="0">
                          <a:solidFill>
                            <a:srgbClr val="000000"/>
                          </a:solidFill>
                          <a:effectLst/>
                          <a:latin typeface="Calibri"/>
                          <a:ea typeface="Times New Roman" panose="02020603050405020304" pitchFamily="18" charset="0"/>
                          <a:cs typeface="Calibri"/>
                        </a:rPr>
                        <a:t>X</a:t>
                      </a:r>
                      <a:endParaRPr lang="en-US" sz="700" dirty="0">
                        <a:effectLst/>
                        <a:latin typeface="Times New Roman"/>
                        <a:ea typeface="Calibri" panose="020F0502020204030204" pitchFamily="34" charset="0"/>
                        <a:cs typeface="Calibri"/>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7677405"/>
                  </a:ext>
                </a:extLst>
              </a:tr>
            </a:tbl>
          </a:graphicData>
        </a:graphic>
      </p:graphicFrame>
      <p:sp>
        <p:nvSpPr>
          <p:cNvPr id="12" name="TextBox 11" descr="table showing designated supports">
            <a:extLst>
              <a:ext uri="{FF2B5EF4-FFF2-40B4-BE49-F238E27FC236}">
                <a16:creationId xmlns:a16="http://schemas.microsoft.com/office/drawing/2014/main" id="{A235332E-2396-4ADF-A4D8-8488CD4B6BBF}"/>
              </a:ext>
            </a:extLst>
          </p:cNvPr>
          <p:cNvSpPr txBox="1"/>
          <p:nvPr/>
        </p:nvSpPr>
        <p:spPr>
          <a:xfrm>
            <a:off x="357962" y="729465"/>
            <a:ext cx="5813208" cy="5170646"/>
          </a:xfrm>
          <a:prstGeom prst="rect">
            <a:avLst/>
          </a:prstGeom>
          <a:solidFill>
            <a:schemeClr val="accent2">
              <a:lumMod val="20000"/>
              <a:lumOff val="80000"/>
            </a:schemeClr>
          </a:solid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200" b="1" i="0" u="none" strike="noStrike" kern="1200" cap="none" spc="0" normalizeH="0" baseline="0" noProof="0" dirty="0">
                <a:ln>
                  <a:noFill/>
                </a:ln>
                <a:solidFill>
                  <a:srgbClr val="0D6CB9"/>
                </a:solidFill>
                <a:effectLst/>
                <a:uLnTx/>
                <a:uFillTx/>
                <a:latin typeface="Calibri" panose="020F0502020204030204"/>
                <a:ea typeface="+mn-ea"/>
                <a:cs typeface="+mn-cs"/>
              </a:rPr>
              <a:t>Accessibility features:</a:t>
            </a:r>
            <a:r>
              <a:rPr kumimoji="0" lang="en-US" sz="2200" b="0" i="0" u="none" strike="noStrike" kern="1200" cap="none" spc="0" normalizeH="0" baseline="0" noProof="0" dirty="0">
                <a:ln>
                  <a:noFill/>
                </a:ln>
                <a:solidFill>
                  <a:srgbClr val="0D6CB9"/>
                </a:solidFill>
                <a:effectLst/>
                <a:uLnTx/>
                <a:uFillTx/>
                <a:latin typeface="Calibri" panose="020F0502020204030204"/>
                <a:ea typeface="+mn-ea"/>
                <a:cs typeface="+mn-cs"/>
              </a:rPr>
              <a:t> available for any student that needs it, no documentation required</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endParaRPr kumimoji="0" lang="en-US" sz="2200" b="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200" b="1" i="0" u="none" strike="noStrike" kern="1200" cap="none" spc="0" normalizeH="0" baseline="0" noProof="0" dirty="0">
                <a:ln>
                  <a:noFill/>
                </a:ln>
                <a:solidFill>
                  <a:srgbClr val="0D6CB9"/>
                </a:solidFill>
                <a:effectLst/>
                <a:uLnTx/>
                <a:uFillTx/>
                <a:latin typeface="Calibri" panose="020F0502020204030204"/>
                <a:ea typeface="+mn-ea"/>
                <a:cs typeface="+mn-cs"/>
              </a:rPr>
              <a:t>Locally-Approved Designated  supports:</a:t>
            </a:r>
            <a:r>
              <a:rPr kumimoji="0" lang="en-US" sz="2200" b="0" i="0" u="none" strike="noStrike" kern="1200" cap="none" spc="0" normalizeH="0" baseline="0" noProof="0" dirty="0">
                <a:ln>
                  <a:noFill/>
                </a:ln>
                <a:solidFill>
                  <a:srgbClr val="0D6CB9"/>
                </a:solidFill>
                <a:effectLst/>
                <a:uLnTx/>
                <a:uFillTx/>
                <a:latin typeface="Calibri" panose="020F0502020204030204"/>
                <a:ea typeface="+mn-ea"/>
                <a:cs typeface="+mn-cs"/>
              </a:rPr>
              <a:t> available only to  students who meet specific eligibility  criteria. The decision should be aimed at addressing a student’s consistent  academic struggle in a specific area even after intensive instruction and remediation. </a:t>
            </a:r>
            <a:endParaRPr kumimoji="0" lang="en-US" sz="22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endParaRPr kumimoji="0" lang="en-US" sz="2200" b="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200" b="1" i="0" u="none" strike="noStrike" kern="1200" cap="none" spc="0" normalizeH="0" baseline="0" noProof="0" dirty="0">
                <a:ln>
                  <a:noFill/>
                </a:ln>
                <a:solidFill>
                  <a:srgbClr val="0D6CB9"/>
                </a:solidFill>
                <a:effectLst/>
                <a:uLnTx/>
                <a:uFillTx/>
                <a:latin typeface="Calibri" panose="020F0502020204030204"/>
                <a:ea typeface="+mn-ea"/>
                <a:cs typeface="+mn-cs"/>
              </a:rPr>
              <a:t>Designated supports that require TEA approval:</a:t>
            </a:r>
            <a:r>
              <a:rPr kumimoji="0" lang="en-US" sz="2200" b="0" i="0" u="none" strike="noStrike" kern="1200" cap="none" spc="0" normalizeH="0" baseline="0" noProof="0" dirty="0">
                <a:ln>
                  <a:noFill/>
                </a:ln>
                <a:solidFill>
                  <a:srgbClr val="0D6CB9"/>
                </a:solidFill>
                <a:effectLst/>
                <a:uLnTx/>
                <a:uFillTx/>
                <a:latin typeface="Calibri" panose="020F0502020204030204"/>
                <a:ea typeface="+mn-ea"/>
                <a:cs typeface="+mn-cs"/>
              </a:rPr>
              <a:t> Complex Transcribing, Extra Day, Math Scribe, and Other</a:t>
            </a:r>
            <a:endParaRPr kumimoji="0" lang="en-US" sz="2200" b="0" i="0" u="none" strike="noStrike" kern="1200" cap="none" spc="0" normalizeH="0" baseline="0" noProof="0" dirty="0">
              <a:ln>
                <a:noFill/>
              </a:ln>
              <a:solidFill>
                <a:srgbClr val="0D6CB9"/>
              </a:solidFill>
              <a:effectLst/>
              <a:uLnTx/>
              <a:uFillTx/>
              <a:latin typeface="Calibri" panose="020F0502020204030204"/>
              <a:ea typeface="+mn-ea"/>
              <a:cs typeface="Calibri"/>
            </a:endParaRPr>
          </a:p>
        </p:txBody>
      </p:sp>
      <p:sp>
        <p:nvSpPr>
          <p:cNvPr id="5" name="Slide Number Placeholder 4">
            <a:extLst>
              <a:ext uri="{FF2B5EF4-FFF2-40B4-BE49-F238E27FC236}">
                <a16:creationId xmlns:a16="http://schemas.microsoft.com/office/drawing/2014/main" id="{4D61501E-25B5-4DA9-9A83-CD62A427E1C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4" name="Left Brace 3">
            <a:extLst>
              <a:ext uri="{FF2B5EF4-FFF2-40B4-BE49-F238E27FC236}">
                <a16:creationId xmlns:a16="http://schemas.microsoft.com/office/drawing/2014/main" id="{E3F2CBF0-0056-9780-79AB-374AA731C5AE}"/>
              </a:ext>
              <a:ext uri="{C183D7F6-B498-43B3-948B-1728B52AA6E4}">
                <adec:decorative xmlns:adec="http://schemas.microsoft.com/office/drawing/2017/decorative" val="1"/>
              </a:ext>
            </a:extLst>
          </p:cNvPr>
          <p:cNvSpPr/>
          <p:nvPr/>
        </p:nvSpPr>
        <p:spPr>
          <a:xfrm>
            <a:off x="5897366" y="1202077"/>
            <a:ext cx="491361" cy="3708970"/>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Left Brace 5">
            <a:extLst>
              <a:ext uri="{FF2B5EF4-FFF2-40B4-BE49-F238E27FC236}">
                <a16:creationId xmlns:a16="http://schemas.microsoft.com/office/drawing/2014/main" id="{BDCF357D-55C7-1EEE-1014-43087BAD6166}"/>
              </a:ext>
              <a:ext uri="{C183D7F6-B498-43B3-948B-1728B52AA6E4}">
                <adec:decorative xmlns:adec="http://schemas.microsoft.com/office/drawing/2017/decorative" val="1"/>
              </a:ext>
            </a:extLst>
          </p:cNvPr>
          <p:cNvSpPr/>
          <p:nvPr/>
        </p:nvSpPr>
        <p:spPr>
          <a:xfrm>
            <a:off x="5897366" y="5058801"/>
            <a:ext cx="491361" cy="571901"/>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528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3C410E-6512-42B1-93A1-17EC9535BC11}"/>
              </a:ext>
            </a:extLst>
          </p:cNvPr>
          <p:cNvSpPr>
            <a:spLocks noGrp="1"/>
          </p:cNvSpPr>
          <p:nvPr>
            <p:ph type="title"/>
          </p:nvPr>
        </p:nvSpPr>
        <p:spPr/>
        <p:txBody>
          <a:bodyPr>
            <a:normAutofit fontScale="90000"/>
          </a:bodyPr>
          <a:lstStyle/>
          <a:p>
            <a:r>
              <a:rPr lang="en-US" dirty="0"/>
              <a:t>Student Eligibility Criteria At-A-Glance</a:t>
            </a:r>
            <a:br>
              <a:rPr lang="en-US" dirty="0"/>
            </a:br>
            <a:endParaRPr lang="en-US" dirty="0"/>
          </a:p>
        </p:txBody>
      </p:sp>
      <p:sp>
        <p:nvSpPr>
          <p:cNvPr id="3" name="TextBox 2" descr="table showing designated supports">
            <a:extLst>
              <a:ext uri="{FF2B5EF4-FFF2-40B4-BE49-F238E27FC236}">
                <a16:creationId xmlns:a16="http://schemas.microsoft.com/office/drawing/2014/main" id="{57087CCB-1ED9-03E3-7D14-12DD5F1B57DF}"/>
              </a:ext>
            </a:extLst>
          </p:cNvPr>
          <p:cNvSpPr txBox="1"/>
          <p:nvPr/>
        </p:nvSpPr>
        <p:spPr>
          <a:xfrm>
            <a:off x="256854" y="1125567"/>
            <a:ext cx="4469258" cy="4431983"/>
          </a:xfrm>
          <a:prstGeom prst="rect">
            <a:avLst/>
          </a:prstGeom>
          <a:solidFill>
            <a:schemeClr val="accent2">
              <a:lumMod val="20000"/>
              <a:lumOff val="80000"/>
            </a:schemeClr>
          </a:solid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000" b="1" i="0" u="none" strike="noStrike" kern="1200" cap="none" spc="0" normalizeH="0" baseline="0" noProof="0" dirty="0">
                <a:ln>
                  <a:noFill/>
                </a:ln>
                <a:solidFill>
                  <a:srgbClr val="0D6CB9"/>
                </a:solidFill>
                <a:effectLst/>
                <a:uLnTx/>
                <a:uFillTx/>
                <a:latin typeface="Calibri" panose="020F0502020204030204"/>
                <a:ea typeface="+mn-ea"/>
                <a:cs typeface="+mn-cs"/>
              </a:rPr>
              <a:t>ALL</a:t>
            </a: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 designated supports require that students routinely and effectively use them during instruction and classroom assessments. </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endParaRPr kumimoji="0" lang="en-US" sz="2000" b="1"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000" b="1"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Some designated supports have additional eligibility requirements that must be met. Policy documents outline what these circumstances are and who at the local level has the authority to approve the accommodation. </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endParaRPr kumimoji="0" lang="en-US" sz="2200" b="0" i="0" u="none" strike="noStrike" kern="1200" cap="none" spc="0" normalizeH="0" baseline="0" noProof="0" dirty="0">
              <a:ln>
                <a:noFill/>
              </a:ln>
              <a:solidFill>
                <a:srgbClr val="0D6CB9"/>
              </a:solidFill>
              <a:effectLst/>
              <a:uLnTx/>
              <a:uFillTx/>
              <a:latin typeface="Calibri" panose="020F0502020204030204"/>
              <a:ea typeface="+mn-ea"/>
              <a:cs typeface="+mn-cs"/>
            </a:endParaRPr>
          </a:p>
        </p:txBody>
      </p:sp>
      <p:graphicFrame>
        <p:nvGraphicFramePr>
          <p:cNvPr id="11" name="Content Placeholder 10" descr="table showing basic eligibility critieria">
            <a:extLst>
              <a:ext uri="{FF2B5EF4-FFF2-40B4-BE49-F238E27FC236}">
                <a16:creationId xmlns:a16="http://schemas.microsoft.com/office/drawing/2014/main" id="{4108F907-1D8E-41A3-A1B4-34A158F1F634}"/>
              </a:ext>
            </a:extLst>
          </p:cNvPr>
          <p:cNvGraphicFramePr>
            <a:graphicFrameLocks noGrp="1"/>
          </p:cNvGraphicFramePr>
          <p:nvPr>
            <p:ph idx="1"/>
            <p:extLst>
              <p:ext uri="{D42A27DB-BD31-4B8C-83A1-F6EECF244321}">
                <p14:modId xmlns:p14="http://schemas.microsoft.com/office/powerpoint/2010/main" val="3365344876"/>
              </p:ext>
            </p:extLst>
          </p:nvPr>
        </p:nvGraphicFramePr>
        <p:xfrm>
          <a:off x="5013788" y="1125567"/>
          <a:ext cx="6820249" cy="4431982"/>
        </p:xfrm>
        <a:graphic>
          <a:graphicData uri="http://schemas.openxmlformats.org/drawingml/2006/table">
            <a:tbl>
              <a:tblPr firstRow="1" firstCol="1" bandRow="1"/>
              <a:tblGrid>
                <a:gridCol w="2416111">
                  <a:extLst>
                    <a:ext uri="{9D8B030D-6E8A-4147-A177-3AD203B41FA5}">
                      <a16:colId xmlns:a16="http://schemas.microsoft.com/office/drawing/2014/main" val="54286961"/>
                    </a:ext>
                  </a:extLst>
                </a:gridCol>
                <a:gridCol w="2125682">
                  <a:extLst>
                    <a:ext uri="{9D8B030D-6E8A-4147-A177-3AD203B41FA5}">
                      <a16:colId xmlns:a16="http://schemas.microsoft.com/office/drawing/2014/main" val="4186955642"/>
                    </a:ext>
                  </a:extLst>
                </a:gridCol>
                <a:gridCol w="2278456">
                  <a:extLst>
                    <a:ext uri="{9D8B030D-6E8A-4147-A177-3AD203B41FA5}">
                      <a16:colId xmlns:a16="http://schemas.microsoft.com/office/drawing/2014/main" val="2482101537"/>
                    </a:ext>
                  </a:extLst>
                </a:gridCol>
              </a:tblGrid>
              <a:tr h="547189">
                <a:tc>
                  <a:txBody>
                    <a:bodyPr/>
                    <a:lstStyle/>
                    <a:p>
                      <a:pPr marL="0" marR="0">
                        <a:lnSpc>
                          <a:spcPct val="107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3864"/>
                    </a:solidFill>
                  </a:tcPr>
                </a:tc>
                <a:tc>
                  <a:txBody>
                    <a:bodyPr/>
                    <a:lstStyle/>
                    <a:p>
                      <a:pPr marL="0" marR="0">
                        <a:lnSpc>
                          <a:spcPct val="107000"/>
                        </a:lnSpc>
                        <a:spcBef>
                          <a:spcPts val="0"/>
                        </a:spcBef>
                        <a:spcAft>
                          <a:spcPts val="0"/>
                        </a:spcAft>
                      </a:pPr>
                      <a:r>
                        <a:rPr lang="en-US" sz="1100" b="1" dirty="0">
                          <a:solidFill>
                            <a:srgbClr val="000000"/>
                          </a:solidFill>
                          <a:effectLst/>
                          <a:latin typeface="Calibri"/>
                          <a:ea typeface="Calibri" panose="020F0502020204030204" pitchFamily="34" charset="0"/>
                          <a:cs typeface="Times New Roman"/>
                        </a:rPr>
                        <a:t>Routinely and effectively uses the support in classroom instruction and testing</a:t>
                      </a:r>
                      <a:endParaRPr lang="en-US" sz="1100" dirty="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100" b="1" dirty="0">
                          <a:solidFill>
                            <a:srgbClr val="000000"/>
                          </a:solidFill>
                          <a:effectLst/>
                          <a:latin typeface="Calibri"/>
                          <a:ea typeface="Calibri" panose="020F0502020204030204" pitchFamily="34" charset="0"/>
                          <a:cs typeface="Times New Roman"/>
                        </a:rPr>
                        <a:t>Requires additional eligibility criteria (see policy document)</a:t>
                      </a:r>
                      <a:endParaRPr lang="en-US" sz="1100" dirty="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79277639"/>
                  </a:ext>
                </a:extLst>
              </a:tr>
              <a:tr h="360879">
                <a:tc>
                  <a:txBody>
                    <a:bodyPr/>
                    <a:lstStyle/>
                    <a:p>
                      <a:pPr marL="0" marR="0">
                        <a:lnSpc>
                          <a:spcPct val="107000"/>
                        </a:lnSpc>
                        <a:spcBef>
                          <a:spcPts val="0"/>
                        </a:spcBef>
                        <a:spcAft>
                          <a:spcPts val="0"/>
                        </a:spcAft>
                      </a:pPr>
                      <a:r>
                        <a:rPr lang="en-US" sz="1100" b="1">
                          <a:effectLst/>
                          <a:latin typeface="Calibri"/>
                          <a:ea typeface="Calibri" panose="020F0502020204030204" pitchFamily="34" charset="0"/>
                          <a:cs typeface="Times New Roman"/>
                        </a:rPr>
                        <a:t>Basic Transcribing</a:t>
                      </a:r>
                      <a:endParaRPr lang="en-US" sz="1100">
                        <a:effectLst/>
                        <a:latin typeface="Calibri"/>
                        <a:ea typeface="Calibri" panose="020F0502020204030204" pitchFamily="34" charset="0"/>
                        <a:cs typeface="Times New Roman"/>
                      </a:endParaRPr>
                    </a:p>
                    <a:p>
                      <a:pPr marL="0" marR="0">
                        <a:lnSpc>
                          <a:spcPct val="107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100" b="1" dirty="0">
                          <a:effectLst/>
                          <a:latin typeface="Calibri"/>
                          <a:ea typeface="Calibri" panose="020F0502020204030204" pitchFamily="34" charset="0"/>
                          <a:cs typeface="Times New Roman"/>
                        </a:rPr>
                        <a:t>X</a:t>
                      </a:r>
                      <a:endParaRPr lang="en-US" sz="1100" dirty="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X</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4337198"/>
                  </a:ext>
                </a:extLst>
              </a:tr>
              <a:tr h="360879">
                <a:tc>
                  <a:txBody>
                    <a:bodyPr/>
                    <a:lstStyle/>
                    <a:p>
                      <a:pPr marL="0" marR="0">
                        <a:lnSpc>
                          <a:spcPct val="107000"/>
                        </a:lnSpc>
                        <a:spcBef>
                          <a:spcPts val="0"/>
                        </a:spcBef>
                        <a:spcAft>
                          <a:spcPts val="0"/>
                        </a:spcAft>
                      </a:pPr>
                      <a:r>
                        <a:rPr lang="en-US" sz="1100" b="1">
                          <a:solidFill>
                            <a:srgbClr val="000000"/>
                          </a:solidFill>
                          <a:effectLst/>
                          <a:latin typeface="Calibri"/>
                          <a:ea typeface="Calibri" panose="020F0502020204030204" pitchFamily="34" charset="0"/>
                          <a:cs typeface="Times New Roman"/>
                        </a:rPr>
                        <a:t>Braille/Refreshable Braille</a:t>
                      </a:r>
                      <a:endParaRPr lang="en-US" sz="1100">
                        <a:effectLst/>
                        <a:latin typeface="Calibri"/>
                        <a:ea typeface="Calibri" panose="020F0502020204030204" pitchFamily="34" charset="0"/>
                        <a:cs typeface="Times New Roman"/>
                      </a:endParaRPr>
                    </a:p>
                    <a:p>
                      <a:pPr marL="0" marR="0">
                        <a:lnSpc>
                          <a:spcPct val="107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US" sz="1100" b="1">
                          <a:solidFill>
                            <a:srgbClr val="000000"/>
                          </a:solidFill>
                          <a:effectLst/>
                          <a:latin typeface="Calibri"/>
                          <a:ea typeface="Calibri" panose="020F0502020204030204" pitchFamily="34" charset="0"/>
                          <a:cs typeface="Times New Roman"/>
                        </a:rPr>
                        <a:t>X</a:t>
                      </a:r>
                      <a:endParaRPr lang="en-US" sz="110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443167916"/>
                  </a:ext>
                </a:extLst>
              </a:tr>
              <a:tr h="360879">
                <a:tc>
                  <a:txBody>
                    <a:bodyPr/>
                    <a:lstStyle/>
                    <a:p>
                      <a:pPr marL="0" marR="0">
                        <a:lnSpc>
                          <a:spcPct val="107000"/>
                        </a:lnSpc>
                        <a:spcBef>
                          <a:spcPts val="0"/>
                        </a:spcBef>
                        <a:spcAft>
                          <a:spcPts val="0"/>
                        </a:spcAft>
                      </a:pPr>
                      <a:r>
                        <a:rPr lang="en-US" sz="1100" b="1">
                          <a:effectLst/>
                          <a:latin typeface="Calibri"/>
                          <a:ea typeface="Calibri" panose="020F0502020204030204" pitchFamily="34" charset="0"/>
                          <a:cs typeface="Times New Roman"/>
                        </a:rPr>
                        <a:t>Calculation Aids</a:t>
                      </a:r>
                      <a:endParaRPr lang="en-US" sz="1100">
                        <a:effectLst/>
                        <a:latin typeface="Calibri"/>
                        <a:ea typeface="Calibri" panose="020F0502020204030204" pitchFamily="34" charset="0"/>
                        <a:cs typeface="Times New Roman"/>
                      </a:endParaRPr>
                    </a:p>
                    <a:p>
                      <a:pPr marL="0" marR="0">
                        <a:lnSpc>
                          <a:spcPct val="107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100" b="1">
                          <a:effectLst/>
                          <a:latin typeface="Calibri"/>
                          <a:ea typeface="Calibri" panose="020F0502020204030204" pitchFamily="34" charset="0"/>
                          <a:cs typeface="Times New Roman"/>
                        </a:rPr>
                        <a:t>X</a:t>
                      </a:r>
                      <a:endParaRPr lang="en-US" sz="110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100" b="1">
                          <a:effectLst/>
                          <a:latin typeface="Calibri"/>
                          <a:ea typeface="Calibri" panose="020F0502020204030204" pitchFamily="34" charset="0"/>
                          <a:cs typeface="Times New Roman"/>
                        </a:rPr>
                        <a:t>X</a:t>
                      </a:r>
                      <a:endParaRPr lang="en-US" sz="110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0576701"/>
                  </a:ext>
                </a:extLst>
              </a:tr>
              <a:tr h="360879">
                <a:tc>
                  <a:txBody>
                    <a:bodyPr/>
                    <a:lstStyle/>
                    <a:p>
                      <a:pPr marL="0" marR="0">
                        <a:lnSpc>
                          <a:spcPct val="107000"/>
                        </a:lnSpc>
                        <a:spcBef>
                          <a:spcPts val="0"/>
                        </a:spcBef>
                        <a:spcAft>
                          <a:spcPts val="0"/>
                        </a:spcAft>
                      </a:pPr>
                      <a:r>
                        <a:rPr lang="en-US" sz="1100" b="1">
                          <a:solidFill>
                            <a:srgbClr val="000000"/>
                          </a:solidFill>
                          <a:effectLst/>
                          <a:latin typeface="Calibri"/>
                          <a:ea typeface="Calibri" panose="020F0502020204030204" pitchFamily="34" charset="0"/>
                          <a:cs typeface="Times New Roman"/>
                        </a:rPr>
                        <a:t>Content and Language Supports</a:t>
                      </a:r>
                      <a:endParaRPr lang="en-US" sz="1100">
                        <a:effectLst/>
                        <a:latin typeface="Calibri"/>
                        <a:ea typeface="Calibri" panose="020F0502020204030204" pitchFamily="34" charset="0"/>
                        <a:cs typeface="Times New Roman"/>
                      </a:endParaRPr>
                    </a:p>
                    <a:p>
                      <a:pPr marL="0" marR="0">
                        <a:lnSpc>
                          <a:spcPct val="107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US" sz="1100" b="1" dirty="0">
                          <a:solidFill>
                            <a:srgbClr val="000000"/>
                          </a:solidFill>
                          <a:effectLst/>
                          <a:latin typeface="Calibri"/>
                          <a:ea typeface="Calibri" panose="020F0502020204030204" pitchFamily="34" charset="0"/>
                          <a:cs typeface="Times New Roman"/>
                        </a:rPr>
                        <a:t>X</a:t>
                      </a:r>
                      <a:endParaRPr lang="en-US" sz="1100" dirty="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US" sz="1100" b="1">
                          <a:solidFill>
                            <a:srgbClr val="000000"/>
                          </a:solidFill>
                          <a:effectLst/>
                          <a:latin typeface="Calibri"/>
                          <a:ea typeface="Calibri" panose="020F0502020204030204" pitchFamily="34" charset="0"/>
                          <a:cs typeface="Times New Roman"/>
                        </a:rPr>
                        <a:t>X</a:t>
                      </a:r>
                      <a:endParaRPr lang="en-US" sz="110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877791185"/>
                  </a:ext>
                </a:extLst>
              </a:tr>
              <a:tr h="360879">
                <a:tc>
                  <a:txBody>
                    <a:bodyPr/>
                    <a:lstStyle/>
                    <a:p>
                      <a:pPr marL="0" marR="0">
                        <a:lnSpc>
                          <a:spcPct val="107000"/>
                        </a:lnSpc>
                        <a:spcBef>
                          <a:spcPts val="0"/>
                        </a:spcBef>
                        <a:spcAft>
                          <a:spcPts val="0"/>
                        </a:spcAft>
                      </a:pPr>
                      <a:r>
                        <a:rPr lang="en-US" sz="1100" b="1" dirty="0">
                          <a:solidFill>
                            <a:srgbClr val="000000"/>
                          </a:solidFill>
                          <a:effectLst/>
                          <a:latin typeface="Calibri"/>
                          <a:ea typeface="Calibri" panose="020F0502020204030204" pitchFamily="34" charset="0"/>
                          <a:cs typeface="Times New Roman"/>
                        </a:rPr>
                        <a:t>Individualized Structured Reminders</a:t>
                      </a:r>
                      <a:endParaRPr lang="en-US" sz="1100" dirty="0">
                        <a:effectLst/>
                        <a:latin typeface="Calibri"/>
                        <a:ea typeface="Calibri" panose="020F0502020204030204" pitchFamily="34" charset="0"/>
                        <a:cs typeface="Times New Roman"/>
                      </a:endParaRPr>
                    </a:p>
                    <a:p>
                      <a:pPr marL="0" marR="0">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1" dirty="0">
                          <a:solidFill>
                            <a:srgbClr val="000000"/>
                          </a:solidFill>
                          <a:effectLst/>
                          <a:latin typeface="Calibri"/>
                          <a:ea typeface="Calibri" panose="020F0502020204030204" pitchFamily="34" charset="0"/>
                          <a:cs typeface="Times New Roman"/>
                        </a:rPr>
                        <a:t>X</a:t>
                      </a:r>
                      <a:endParaRPr lang="en-US" sz="1100" dirty="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830542123"/>
                  </a:ext>
                </a:extLst>
              </a:tr>
              <a:tr h="360879">
                <a:tc>
                  <a:txBody>
                    <a:bodyPr/>
                    <a:lstStyle/>
                    <a:p>
                      <a:pPr marL="0" marR="0">
                        <a:lnSpc>
                          <a:spcPct val="107000"/>
                        </a:lnSpc>
                        <a:spcBef>
                          <a:spcPts val="0"/>
                        </a:spcBef>
                        <a:spcAft>
                          <a:spcPts val="0"/>
                        </a:spcAft>
                      </a:pPr>
                      <a:r>
                        <a:rPr lang="en-US" sz="1100" b="1" dirty="0">
                          <a:effectLst/>
                          <a:latin typeface="Calibri"/>
                          <a:ea typeface="Calibri" panose="020F0502020204030204" pitchFamily="34" charset="0"/>
                          <a:cs typeface="Times New Roman"/>
                        </a:rPr>
                        <a:t>Large Print</a:t>
                      </a:r>
                      <a:endParaRPr lang="en-US" sz="1100" dirty="0">
                        <a:effectLst/>
                        <a:latin typeface="Calibri"/>
                        <a:ea typeface="Calibri" panose="020F0502020204030204" pitchFamily="34" charset="0"/>
                        <a:cs typeface="Times New Roman"/>
                      </a:endParaRPr>
                    </a:p>
                    <a:p>
                      <a:pPr marL="0" marR="0">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US" sz="1100" b="1">
                          <a:effectLst/>
                          <a:latin typeface="Calibri"/>
                          <a:ea typeface="Calibri" panose="020F0502020204030204" pitchFamily="34" charset="0"/>
                          <a:cs typeface="Times New Roman"/>
                        </a:rPr>
                        <a:t>X</a:t>
                      </a:r>
                      <a:endParaRPr lang="en-US" sz="110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US" sz="1100" b="1">
                          <a:effectLst/>
                          <a:latin typeface="Calibri"/>
                          <a:ea typeface="Calibri" panose="020F0502020204030204" pitchFamily="34" charset="0"/>
                          <a:cs typeface="Times New Roman"/>
                        </a:rPr>
                        <a:t>X</a:t>
                      </a:r>
                      <a:endParaRPr lang="en-US" sz="110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795467913"/>
                  </a:ext>
                </a:extLst>
              </a:tr>
              <a:tr h="360879">
                <a:tc>
                  <a:txBody>
                    <a:bodyPr/>
                    <a:lstStyle/>
                    <a:p>
                      <a:pPr marL="0" marR="0">
                        <a:lnSpc>
                          <a:spcPct val="107000"/>
                        </a:lnSpc>
                        <a:spcBef>
                          <a:spcPts val="0"/>
                        </a:spcBef>
                        <a:spcAft>
                          <a:spcPts val="0"/>
                        </a:spcAft>
                      </a:pPr>
                      <a:r>
                        <a:rPr lang="en-US" sz="1100" b="1" dirty="0">
                          <a:solidFill>
                            <a:srgbClr val="000000"/>
                          </a:solidFill>
                          <a:effectLst/>
                          <a:latin typeface="Calibri"/>
                          <a:ea typeface="Calibri" panose="020F0502020204030204" pitchFamily="34" charset="0"/>
                          <a:cs typeface="Times New Roman"/>
                        </a:rPr>
                        <a:t>Manipulating Test Materials</a:t>
                      </a:r>
                      <a:endParaRPr lang="en-US" sz="1100" dirty="0">
                        <a:effectLst/>
                        <a:latin typeface="Calibri"/>
                        <a:ea typeface="Calibri" panose="020F0502020204030204" pitchFamily="34" charset="0"/>
                        <a:cs typeface="Times New Roman"/>
                      </a:endParaRPr>
                    </a:p>
                    <a:p>
                      <a:pPr marL="0" marR="0">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1">
                          <a:solidFill>
                            <a:srgbClr val="000000"/>
                          </a:solidFill>
                          <a:effectLst/>
                          <a:latin typeface="Calibri"/>
                          <a:ea typeface="Calibri" panose="020F0502020204030204" pitchFamily="34" charset="0"/>
                          <a:cs typeface="Times New Roman"/>
                        </a:rPr>
                        <a:t>X</a:t>
                      </a:r>
                      <a:endParaRPr lang="en-US" sz="110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35724254"/>
                  </a:ext>
                </a:extLst>
              </a:tr>
              <a:tr h="360879">
                <a:tc>
                  <a:txBody>
                    <a:bodyPr/>
                    <a:lstStyle/>
                    <a:p>
                      <a:pPr marL="0" marR="0">
                        <a:lnSpc>
                          <a:spcPct val="107000"/>
                        </a:lnSpc>
                        <a:spcBef>
                          <a:spcPts val="0"/>
                        </a:spcBef>
                        <a:spcAft>
                          <a:spcPts val="0"/>
                        </a:spcAft>
                      </a:pPr>
                      <a:r>
                        <a:rPr lang="en-US" sz="1100" b="1" dirty="0">
                          <a:effectLst/>
                          <a:latin typeface="Calibri"/>
                          <a:ea typeface="Calibri" panose="020F0502020204030204" pitchFamily="34" charset="0"/>
                          <a:cs typeface="Times New Roman"/>
                        </a:rPr>
                        <a:t>Mathematics Manipulatives</a:t>
                      </a:r>
                      <a:endParaRPr lang="en-US" sz="1100" dirty="0">
                        <a:effectLst/>
                        <a:latin typeface="Calibri"/>
                        <a:ea typeface="Calibri" panose="020F0502020204030204" pitchFamily="34" charset="0"/>
                        <a:cs typeface="Times New Roman"/>
                      </a:endParaRPr>
                    </a:p>
                    <a:p>
                      <a:pPr marL="0" marR="0">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US" sz="1100" b="1">
                          <a:effectLst/>
                          <a:latin typeface="Calibri"/>
                          <a:ea typeface="Calibri" panose="020F0502020204030204" pitchFamily="34" charset="0"/>
                          <a:cs typeface="Times New Roman"/>
                        </a:rPr>
                        <a:t>X</a:t>
                      </a:r>
                      <a:endParaRPr lang="en-US" sz="110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832762107"/>
                  </a:ext>
                </a:extLst>
              </a:tr>
              <a:tr h="409427">
                <a:tc>
                  <a:txBody>
                    <a:bodyPr/>
                    <a:lstStyle/>
                    <a:p>
                      <a:pPr marL="0" marR="0">
                        <a:lnSpc>
                          <a:spcPct val="107000"/>
                        </a:lnSpc>
                        <a:spcBef>
                          <a:spcPts val="0"/>
                        </a:spcBef>
                        <a:spcAft>
                          <a:spcPts val="0"/>
                        </a:spcAft>
                      </a:pPr>
                      <a:r>
                        <a:rPr lang="en-US" sz="1100" b="1" dirty="0">
                          <a:solidFill>
                            <a:srgbClr val="000000"/>
                          </a:solidFill>
                          <a:effectLst/>
                          <a:latin typeface="Calibri"/>
                          <a:ea typeface="Calibri" panose="020F0502020204030204" pitchFamily="34" charset="0"/>
                          <a:cs typeface="Times New Roman"/>
                        </a:rPr>
                        <a:t>Oral/Signed Administration</a:t>
                      </a:r>
                      <a:endParaRPr lang="en-US" sz="1100" dirty="0">
                        <a:effectLst/>
                        <a:latin typeface="Calibri"/>
                        <a:ea typeface="Calibri" panose="020F0502020204030204" pitchFamily="34" charset="0"/>
                        <a:cs typeface="Times New Roman"/>
                      </a:endParaRPr>
                    </a:p>
                    <a:p>
                      <a:pPr marL="0" marR="0">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1">
                          <a:solidFill>
                            <a:srgbClr val="000000"/>
                          </a:solidFill>
                          <a:effectLst/>
                          <a:latin typeface="Calibri"/>
                          <a:ea typeface="Calibri" panose="020F0502020204030204" pitchFamily="34" charset="0"/>
                          <a:cs typeface="Times New Roman"/>
                        </a:rPr>
                        <a:t>X</a:t>
                      </a:r>
                      <a:endParaRPr lang="en-US" sz="110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1" dirty="0">
                          <a:solidFill>
                            <a:srgbClr val="000000"/>
                          </a:solidFill>
                          <a:effectLst/>
                          <a:latin typeface="Calibri"/>
                          <a:ea typeface="Calibri" panose="020F0502020204030204" pitchFamily="34" charset="0"/>
                          <a:cs typeface="Times New Roman"/>
                        </a:rPr>
                        <a:t>X</a:t>
                      </a:r>
                      <a:endParaRPr lang="en-US" sz="1100" dirty="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02039611"/>
                  </a:ext>
                </a:extLst>
              </a:tr>
              <a:tr h="360879">
                <a:tc>
                  <a:txBody>
                    <a:bodyPr/>
                    <a:lstStyle/>
                    <a:p>
                      <a:pPr marL="0" marR="0">
                        <a:lnSpc>
                          <a:spcPct val="107000"/>
                        </a:lnSpc>
                        <a:spcBef>
                          <a:spcPts val="0"/>
                        </a:spcBef>
                        <a:spcAft>
                          <a:spcPts val="0"/>
                        </a:spcAft>
                      </a:pPr>
                      <a:r>
                        <a:rPr lang="en-US" sz="1100" b="1" dirty="0">
                          <a:effectLst/>
                          <a:latin typeface="Calibri"/>
                          <a:ea typeface="Calibri" panose="020F0502020204030204" pitchFamily="34" charset="0"/>
                          <a:cs typeface="Times New Roman"/>
                        </a:rPr>
                        <a:t>Spelling Assistance</a:t>
                      </a:r>
                      <a:endParaRPr lang="en-US" sz="1100" dirty="0">
                        <a:effectLst/>
                        <a:latin typeface="Calibri"/>
                        <a:ea typeface="Calibri" panose="020F0502020204030204" pitchFamily="34" charset="0"/>
                        <a:cs typeface="Times New Roman"/>
                      </a:endParaRPr>
                    </a:p>
                    <a:p>
                      <a:pPr marL="0" marR="0">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US" sz="1100" b="1" dirty="0">
                          <a:effectLst/>
                          <a:latin typeface="Calibri"/>
                          <a:ea typeface="Calibri" panose="020F0502020204030204" pitchFamily="34" charset="0"/>
                          <a:cs typeface="Times New Roman"/>
                        </a:rPr>
                        <a:t>X</a:t>
                      </a:r>
                      <a:endParaRPr lang="en-US" sz="1100" dirty="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US" sz="1100" b="1" dirty="0">
                          <a:effectLst/>
                          <a:latin typeface="Calibri"/>
                          <a:ea typeface="Calibri" panose="020F0502020204030204" pitchFamily="34" charset="0"/>
                          <a:cs typeface="Times New Roman"/>
                        </a:rPr>
                        <a:t>X</a:t>
                      </a:r>
                      <a:endParaRPr lang="en-US" sz="1100" dirty="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531505878"/>
                  </a:ext>
                </a:extLst>
              </a:tr>
              <a:tr h="227455">
                <a:tc>
                  <a:txBody>
                    <a:bodyPr/>
                    <a:lstStyle/>
                    <a:p>
                      <a:pPr marL="0" marR="0">
                        <a:lnSpc>
                          <a:spcPct val="107000"/>
                        </a:lnSpc>
                        <a:spcBef>
                          <a:spcPts val="0"/>
                        </a:spcBef>
                        <a:spcAft>
                          <a:spcPts val="0"/>
                        </a:spcAft>
                      </a:pPr>
                      <a:r>
                        <a:rPr lang="en-US" sz="1100" b="1" dirty="0">
                          <a:solidFill>
                            <a:srgbClr val="000000"/>
                          </a:solidFill>
                          <a:effectLst/>
                          <a:latin typeface="Calibri"/>
                          <a:ea typeface="Calibri" panose="020F0502020204030204" pitchFamily="34" charset="0"/>
                          <a:cs typeface="Times New Roman"/>
                        </a:rPr>
                        <a:t>Supplemental Aids</a:t>
                      </a:r>
                      <a:endParaRPr lang="en-US" sz="1100" dirty="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100" b="1" dirty="0">
                          <a:solidFill>
                            <a:srgbClr val="000000"/>
                          </a:solidFill>
                          <a:effectLst/>
                          <a:latin typeface="Calibri"/>
                          <a:ea typeface="Calibri" panose="020F0502020204030204" pitchFamily="34" charset="0"/>
                          <a:cs typeface="Times New Roman"/>
                        </a:rPr>
                        <a:t>X</a:t>
                      </a:r>
                      <a:endParaRPr lang="en-US" sz="1100" dirty="0">
                        <a:effectLst/>
                        <a:latin typeface="Calibri"/>
                        <a:ea typeface="Calibri" panose="020F0502020204030204" pitchFamily="34" charset="0"/>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07543851"/>
                  </a:ext>
                </a:extLst>
              </a:tr>
            </a:tbl>
          </a:graphicData>
        </a:graphic>
      </p:graphicFrame>
      <p:sp>
        <p:nvSpPr>
          <p:cNvPr id="5" name="Slide Number Placeholder 4">
            <a:extLst>
              <a:ext uri="{FF2B5EF4-FFF2-40B4-BE49-F238E27FC236}">
                <a16:creationId xmlns:a16="http://schemas.microsoft.com/office/drawing/2014/main" id="{F50FFE61-9CA2-43CD-92C6-9199F1A5E9A7}"/>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88383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710866B-BF25-4046-B35C-CEAE91CD4D09}"/>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pSp>
        <p:nvGrpSpPr>
          <p:cNvPr id="10" name="object 2" descr="circle graphic labeling the four boxes on the screen as showing available accommodations by academic committee. ">
            <a:extLst>
              <a:ext uri="{FF2B5EF4-FFF2-40B4-BE49-F238E27FC236}">
                <a16:creationId xmlns:a16="http://schemas.microsoft.com/office/drawing/2014/main" id="{FBCAA289-3818-0779-7C61-B23F425E025F}"/>
              </a:ext>
            </a:extLst>
          </p:cNvPr>
          <p:cNvGrpSpPr/>
          <p:nvPr/>
        </p:nvGrpSpPr>
        <p:grpSpPr>
          <a:xfrm>
            <a:off x="4664567" y="1181528"/>
            <a:ext cx="3102696" cy="3533493"/>
            <a:chOff x="3638547" y="3064769"/>
            <a:chExt cx="2687546" cy="3092070"/>
          </a:xfrm>
        </p:grpSpPr>
        <p:sp>
          <p:nvSpPr>
            <p:cNvPr id="11" name="object 3">
              <a:extLst>
                <a:ext uri="{FF2B5EF4-FFF2-40B4-BE49-F238E27FC236}">
                  <a16:creationId xmlns:a16="http://schemas.microsoft.com/office/drawing/2014/main" id="{EE81E06B-D4D7-E8C9-9AAC-9975D593177E}"/>
                </a:ext>
              </a:extLst>
            </p:cNvPr>
            <p:cNvSpPr/>
            <p:nvPr/>
          </p:nvSpPr>
          <p:spPr>
            <a:xfrm>
              <a:off x="5353049" y="3121919"/>
              <a:ext cx="878205" cy="800735"/>
            </a:xfrm>
            <a:custGeom>
              <a:avLst/>
              <a:gdLst/>
              <a:ahLst/>
              <a:cxnLst/>
              <a:rect l="l" t="t" r="r" b="b"/>
              <a:pathLst>
                <a:path w="878204" h="800735">
                  <a:moveTo>
                    <a:pt x="0" y="800481"/>
                  </a:moveTo>
                  <a:lnTo>
                    <a:pt x="486524" y="800481"/>
                  </a:lnTo>
                  <a:lnTo>
                    <a:pt x="486524" y="0"/>
                  </a:lnTo>
                  <a:lnTo>
                    <a:pt x="877785" y="0"/>
                  </a:lnTo>
                </a:path>
              </a:pathLst>
            </a:custGeom>
            <a:ln w="381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bject 4">
              <a:extLst>
                <a:ext uri="{FF2B5EF4-FFF2-40B4-BE49-F238E27FC236}">
                  <a16:creationId xmlns:a16="http://schemas.microsoft.com/office/drawing/2014/main" id="{04787CA1-6DF9-F473-49C2-037A73B5328C}"/>
                </a:ext>
              </a:extLst>
            </p:cNvPr>
            <p:cNvSpPr/>
            <p:nvPr/>
          </p:nvSpPr>
          <p:spPr>
            <a:xfrm>
              <a:off x="6211793" y="3064769"/>
              <a:ext cx="114300" cy="114300"/>
            </a:xfrm>
            <a:custGeom>
              <a:avLst/>
              <a:gdLst/>
              <a:ahLst/>
              <a:cxnLst/>
              <a:rect l="l" t="t" r="r" b="b"/>
              <a:pathLst>
                <a:path w="114300" h="114300">
                  <a:moveTo>
                    <a:pt x="0" y="0"/>
                  </a:moveTo>
                  <a:lnTo>
                    <a:pt x="0" y="114300"/>
                  </a:lnTo>
                  <a:lnTo>
                    <a:pt x="114300" y="57150"/>
                  </a:lnTo>
                  <a:lnTo>
                    <a:pt x="0"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object 5">
              <a:extLst>
                <a:ext uri="{FF2B5EF4-FFF2-40B4-BE49-F238E27FC236}">
                  <a16:creationId xmlns:a16="http://schemas.microsoft.com/office/drawing/2014/main" id="{0D082173-F9AE-3242-D8EA-252CC07382B2}"/>
                </a:ext>
              </a:extLst>
            </p:cNvPr>
            <p:cNvSpPr/>
            <p:nvPr/>
          </p:nvSpPr>
          <p:spPr>
            <a:xfrm>
              <a:off x="5639561" y="5339333"/>
              <a:ext cx="590550" cy="476884"/>
            </a:xfrm>
            <a:custGeom>
              <a:avLst/>
              <a:gdLst/>
              <a:ahLst/>
              <a:cxnLst/>
              <a:rect l="l" t="t" r="r" b="b"/>
              <a:pathLst>
                <a:path w="590550" h="476885">
                  <a:moveTo>
                    <a:pt x="0" y="0"/>
                  </a:moveTo>
                  <a:lnTo>
                    <a:pt x="238721" y="0"/>
                  </a:lnTo>
                  <a:lnTo>
                    <a:pt x="238721" y="476821"/>
                  </a:lnTo>
                  <a:lnTo>
                    <a:pt x="590550" y="476821"/>
                  </a:lnTo>
                </a:path>
              </a:pathLst>
            </a:custGeom>
            <a:ln w="381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bject 6">
              <a:extLst>
                <a:ext uri="{FF2B5EF4-FFF2-40B4-BE49-F238E27FC236}">
                  <a16:creationId xmlns:a16="http://schemas.microsoft.com/office/drawing/2014/main" id="{7C56BEA4-96E0-75F1-0C02-382FBAD98649}"/>
                </a:ext>
              </a:extLst>
            </p:cNvPr>
            <p:cNvSpPr/>
            <p:nvPr/>
          </p:nvSpPr>
          <p:spPr>
            <a:xfrm>
              <a:off x="6211064" y="5758999"/>
              <a:ext cx="114300" cy="114300"/>
            </a:xfrm>
            <a:custGeom>
              <a:avLst/>
              <a:gdLst/>
              <a:ahLst/>
              <a:cxnLst/>
              <a:rect l="l" t="t" r="r" b="b"/>
              <a:pathLst>
                <a:path w="114300" h="114300">
                  <a:moveTo>
                    <a:pt x="0" y="0"/>
                  </a:moveTo>
                  <a:lnTo>
                    <a:pt x="0" y="114300"/>
                  </a:lnTo>
                  <a:lnTo>
                    <a:pt x="114300" y="57150"/>
                  </a:lnTo>
                  <a:lnTo>
                    <a:pt x="0"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object 7">
              <a:extLst>
                <a:ext uri="{FF2B5EF4-FFF2-40B4-BE49-F238E27FC236}">
                  <a16:creationId xmlns:a16="http://schemas.microsoft.com/office/drawing/2014/main" id="{4CD68F91-BAE2-D40D-FFC2-D5563F8F5619}"/>
                </a:ext>
              </a:extLst>
            </p:cNvPr>
            <p:cNvSpPr/>
            <p:nvPr/>
          </p:nvSpPr>
          <p:spPr>
            <a:xfrm>
              <a:off x="3787136" y="5339333"/>
              <a:ext cx="920115" cy="760730"/>
            </a:xfrm>
            <a:custGeom>
              <a:avLst/>
              <a:gdLst/>
              <a:ahLst/>
              <a:cxnLst/>
              <a:rect l="l" t="t" r="r" b="b"/>
              <a:pathLst>
                <a:path w="920114" h="760729">
                  <a:moveTo>
                    <a:pt x="920013" y="0"/>
                  </a:moveTo>
                  <a:lnTo>
                    <a:pt x="412381" y="0"/>
                  </a:lnTo>
                  <a:lnTo>
                    <a:pt x="412381" y="760361"/>
                  </a:lnTo>
                  <a:lnTo>
                    <a:pt x="0" y="760361"/>
                  </a:lnTo>
                </a:path>
              </a:pathLst>
            </a:custGeom>
            <a:ln w="381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object 8">
              <a:extLst>
                <a:ext uri="{FF2B5EF4-FFF2-40B4-BE49-F238E27FC236}">
                  <a16:creationId xmlns:a16="http://schemas.microsoft.com/office/drawing/2014/main" id="{644BB816-5EE3-12F2-E22E-C4E81556E1C2}"/>
                </a:ext>
              </a:extLst>
            </p:cNvPr>
            <p:cNvSpPr/>
            <p:nvPr/>
          </p:nvSpPr>
          <p:spPr>
            <a:xfrm>
              <a:off x="3691887" y="6042539"/>
              <a:ext cx="114300" cy="114300"/>
            </a:xfrm>
            <a:custGeom>
              <a:avLst/>
              <a:gdLst/>
              <a:ahLst/>
              <a:cxnLst/>
              <a:rect l="l" t="t" r="r" b="b"/>
              <a:pathLst>
                <a:path w="114300" h="114300">
                  <a:moveTo>
                    <a:pt x="114300" y="0"/>
                  </a:moveTo>
                  <a:lnTo>
                    <a:pt x="0" y="57150"/>
                  </a:lnTo>
                  <a:lnTo>
                    <a:pt x="114300" y="114300"/>
                  </a:lnTo>
                  <a:lnTo>
                    <a:pt x="114300"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object 9">
              <a:extLst>
                <a:ext uri="{FF2B5EF4-FFF2-40B4-BE49-F238E27FC236}">
                  <a16:creationId xmlns:a16="http://schemas.microsoft.com/office/drawing/2014/main" id="{92840D13-936E-B49A-7603-720DCF1DE4B6}"/>
                </a:ext>
              </a:extLst>
            </p:cNvPr>
            <p:cNvSpPr/>
            <p:nvPr/>
          </p:nvSpPr>
          <p:spPr>
            <a:xfrm>
              <a:off x="3733798" y="3121920"/>
              <a:ext cx="920115" cy="800735"/>
            </a:xfrm>
            <a:custGeom>
              <a:avLst/>
              <a:gdLst/>
              <a:ahLst/>
              <a:cxnLst/>
              <a:rect l="l" t="t" r="r" b="b"/>
              <a:pathLst>
                <a:path w="920114" h="800735">
                  <a:moveTo>
                    <a:pt x="920013" y="800480"/>
                  </a:moveTo>
                  <a:lnTo>
                    <a:pt x="412381" y="800480"/>
                  </a:lnTo>
                  <a:lnTo>
                    <a:pt x="412381" y="0"/>
                  </a:lnTo>
                  <a:lnTo>
                    <a:pt x="0" y="0"/>
                  </a:lnTo>
                </a:path>
              </a:pathLst>
            </a:custGeom>
            <a:ln w="381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object 10">
              <a:extLst>
                <a:ext uri="{FF2B5EF4-FFF2-40B4-BE49-F238E27FC236}">
                  <a16:creationId xmlns:a16="http://schemas.microsoft.com/office/drawing/2014/main" id="{4F46D7DE-0C75-3124-FC2D-229CD3E25845}"/>
                </a:ext>
              </a:extLst>
            </p:cNvPr>
            <p:cNvSpPr/>
            <p:nvPr/>
          </p:nvSpPr>
          <p:spPr>
            <a:xfrm>
              <a:off x="3638547" y="3064769"/>
              <a:ext cx="114300" cy="114300"/>
            </a:xfrm>
            <a:custGeom>
              <a:avLst/>
              <a:gdLst/>
              <a:ahLst/>
              <a:cxnLst/>
              <a:rect l="l" t="t" r="r" b="b"/>
              <a:pathLst>
                <a:path w="114300" h="114300">
                  <a:moveTo>
                    <a:pt x="114300" y="0"/>
                  </a:moveTo>
                  <a:lnTo>
                    <a:pt x="0" y="57150"/>
                  </a:lnTo>
                  <a:lnTo>
                    <a:pt x="114300" y="114300"/>
                  </a:lnTo>
                  <a:lnTo>
                    <a:pt x="114300"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bject 11">
              <a:extLst>
                <a:ext uri="{FF2B5EF4-FFF2-40B4-BE49-F238E27FC236}">
                  <a16:creationId xmlns:a16="http://schemas.microsoft.com/office/drawing/2014/main" id="{FA3D91BE-EC87-F11C-8119-339D2737E0B1}"/>
                </a:ext>
              </a:extLst>
            </p:cNvPr>
            <p:cNvSpPr/>
            <p:nvPr/>
          </p:nvSpPr>
          <p:spPr>
            <a:xfrm>
              <a:off x="4002785" y="3653790"/>
              <a:ext cx="1993900" cy="1911350"/>
            </a:xfrm>
            <a:custGeom>
              <a:avLst/>
              <a:gdLst/>
              <a:ahLst/>
              <a:cxnLst/>
              <a:rect l="l" t="t" r="r" b="b"/>
              <a:pathLst>
                <a:path w="1993900" h="1911350">
                  <a:moveTo>
                    <a:pt x="996696" y="0"/>
                  </a:moveTo>
                  <a:lnTo>
                    <a:pt x="943762" y="1320"/>
                  </a:lnTo>
                  <a:lnTo>
                    <a:pt x="891552" y="5257"/>
                  </a:lnTo>
                  <a:lnTo>
                    <a:pt x="840117" y="11722"/>
                  </a:lnTo>
                  <a:lnTo>
                    <a:pt x="789559" y="20662"/>
                  </a:lnTo>
                  <a:lnTo>
                    <a:pt x="739914" y="32016"/>
                  </a:lnTo>
                  <a:lnTo>
                    <a:pt x="691261" y="45707"/>
                  </a:lnTo>
                  <a:lnTo>
                    <a:pt x="643686" y="61671"/>
                  </a:lnTo>
                  <a:lnTo>
                    <a:pt x="597230" y="79832"/>
                  </a:lnTo>
                  <a:lnTo>
                    <a:pt x="551980" y="100152"/>
                  </a:lnTo>
                  <a:lnTo>
                    <a:pt x="508012" y="122542"/>
                  </a:lnTo>
                  <a:lnTo>
                    <a:pt x="465366" y="146951"/>
                  </a:lnTo>
                  <a:lnTo>
                    <a:pt x="424141" y="173291"/>
                  </a:lnTo>
                  <a:lnTo>
                    <a:pt x="384390" y="201523"/>
                  </a:lnTo>
                  <a:lnTo>
                    <a:pt x="346189" y="231559"/>
                  </a:lnTo>
                  <a:lnTo>
                    <a:pt x="309587" y="263347"/>
                  </a:lnTo>
                  <a:lnTo>
                    <a:pt x="274688" y="296811"/>
                  </a:lnTo>
                  <a:lnTo>
                    <a:pt x="241528" y="331889"/>
                  </a:lnTo>
                  <a:lnTo>
                    <a:pt x="210197" y="368515"/>
                  </a:lnTo>
                  <a:lnTo>
                    <a:pt x="180759" y="406628"/>
                  </a:lnTo>
                  <a:lnTo>
                    <a:pt x="153276" y="446163"/>
                  </a:lnTo>
                  <a:lnTo>
                    <a:pt x="127825" y="487032"/>
                  </a:lnTo>
                  <a:lnTo>
                    <a:pt x="104470" y="529196"/>
                  </a:lnTo>
                  <a:lnTo>
                    <a:pt x="83273" y="572579"/>
                  </a:lnTo>
                  <a:lnTo>
                    <a:pt x="64325" y="617105"/>
                  </a:lnTo>
                  <a:lnTo>
                    <a:pt x="47663" y="662724"/>
                  </a:lnTo>
                  <a:lnTo>
                    <a:pt x="33388" y="709371"/>
                  </a:lnTo>
                  <a:lnTo>
                    <a:pt x="21551" y="756958"/>
                  </a:lnTo>
                  <a:lnTo>
                    <a:pt x="12230" y="805434"/>
                  </a:lnTo>
                  <a:lnTo>
                    <a:pt x="5473" y="854735"/>
                  </a:lnTo>
                  <a:lnTo>
                    <a:pt x="1384" y="904798"/>
                  </a:lnTo>
                  <a:lnTo>
                    <a:pt x="0" y="955547"/>
                  </a:lnTo>
                  <a:lnTo>
                    <a:pt x="1384" y="1006297"/>
                  </a:lnTo>
                  <a:lnTo>
                    <a:pt x="5473" y="1056347"/>
                  </a:lnTo>
                  <a:lnTo>
                    <a:pt x="12230" y="1105662"/>
                  </a:lnTo>
                  <a:lnTo>
                    <a:pt x="21551" y="1154137"/>
                  </a:lnTo>
                  <a:lnTo>
                    <a:pt x="33388" y="1201724"/>
                  </a:lnTo>
                  <a:lnTo>
                    <a:pt x="47663" y="1248371"/>
                  </a:lnTo>
                  <a:lnTo>
                    <a:pt x="64325" y="1293990"/>
                  </a:lnTo>
                  <a:lnTo>
                    <a:pt x="83273" y="1338516"/>
                  </a:lnTo>
                  <a:lnTo>
                    <a:pt x="104470" y="1381899"/>
                  </a:lnTo>
                  <a:lnTo>
                    <a:pt x="127825" y="1424063"/>
                  </a:lnTo>
                  <a:lnTo>
                    <a:pt x="153276" y="1464932"/>
                  </a:lnTo>
                  <a:lnTo>
                    <a:pt x="180759" y="1504467"/>
                  </a:lnTo>
                  <a:lnTo>
                    <a:pt x="210197" y="1542580"/>
                  </a:lnTo>
                  <a:lnTo>
                    <a:pt x="241528" y="1579206"/>
                  </a:lnTo>
                  <a:lnTo>
                    <a:pt x="274688" y="1614284"/>
                  </a:lnTo>
                  <a:lnTo>
                    <a:pt x="309587" y="1647748"/>
                  </a:lnTo>
                  <a:lnTo>
                    <a:pt x="346189" y="1679536"/>
                  </a:lnTo>
                  <a:lnTo>
                    <a:pt x="384390" y="1709572"/>
                  </a:lnTo>
                  <a:lnTo>
                    <a:pt x="424141" y="1737804"/>
                  </a:lnTo>
                  <a:lnTo>
                    <a:pt x="465366" y="1764144"/>
                  </a:lnTo>
                  <a:lnTo>
                    <a:pt x="508012" y="1788553"/>
                  </a:lnTo>
                  <a:lnTo>
                    <a:pt x="551980" y="1810943"/>
                  </a:lnTo>
                  <a:lnTo>
                    <a:pt x="597230" y="1831251"/>
                  </a:lnTo>
                  <a:lnTo>
                    <a:pt x="643686" y="1849424"/>
                  </a:lnTo>
                  <a:lnTo>
                    <a:pt x="691261" y="1865388"/>
                  </a:lnTo>
                  <a:lnTo>
                    <a:pt x="739914" y="1879079"/>
                  </a:lnTo>
                  <a:lnTo>
                    <a:pt x="789559" y="1890433"/>
                  </a:lnTo>
                  <a:lnTo>
                    <a:pt x="840117" y="1899373"/>
                  </a:lnTo>
                  <a:lnTo>
                    <a:pt x="891552" y="1905838"/>
                  </a:lnTo>
                  <a:lnTo>
                    <a:pt x="943762" y="1909775"/>
                  </a:lnTo>
                  <a:lnTo>
                    <a:pt x="996696" y="1911095"/>
                  </a:lnTo>
                  <a:lnTo>
                    <a:pt x="1049629" y="1909775"/>
                  </a:lnTo>
                  <a:lnTo>
                    <a:pt x="1101839" y="1905838"/>
                  </a:lnTo>
                  <a:lnTo>
                    <a:pt x="1153274" y="1899373"/>
                  </a:lnTo>
                  <a:lnTo>
                    <a:pt x="1203833" y="1890433"/>
                  </a:lnTo>
                  <a:lnTo>
                    <a:pt x="1253477" y="1879079"/>
                  </a:lnTo>
                  <a:lnTo>
                    <a:pt x="1302118" y="1865388"/>
                  </a:lnTo>
                  <a:lnTo>
                    <a:pt x="1349705" y="1849424"/>
                  </a:lnTo>
                  <a:lnTo>
                    <a:pt x="1396161" y="1831251"/>
                  </a:lnTo>
                  <a:lnTo>
                    <a:pt x="1441399" y="1810943"/>
                  </a:lnTo>
                  <a:lnTo>
                    <a:pt x="1485379" y="1788553"/>
                  </a:lnTo>
                  <a:lnTo>
                    <a:pt x="1528013" y="1764144"/>
                  </a:lnTo>
                  <a:lnTo>
                    <a:pt x="1569250" y="1737804"/>
                  </a:lnTo>
                  <a:lnTo>
                    <a:pt x="1609001" y="1709572"/>
                  </a:lnTo>
                  <a:lnTo>
                    <a:pt x="1647202" y="1679536"/>
                  </a:lnTo>
                  <a:lnTo>
                    <a:pt x="1683791" y="1647748"/>
                  </a:lnTo>
                  <a:lnTo>
                    <a:pt x="1718703" y="1614284"/>
                  </a:lnTo>
                  <a:lnTo>
                    <a:pt x="1751863" y="1579206"/>
                  </a:lnTo>
                  <a:lnTo>
                    <a:pt x="1783194" y="1542580"/>
                  </a:lnTo>
                  <a:lnTo>
                    <a:pt x="1812632" y="1504467"/>
                  </a:lnTo>
                  <a:lnTo>
                    <a:pt x="1840115" y="1464932"/>
                  </a:lnTo>
                  <a:lnTo>
                    <a:pt x="1865566" y="1424063"/>
                  </a:lnTo>
                  <a:lnTo>
                    <a:pt x="1888921" y="1381899"/>
                  </a:lnTo>
                  <a:lnTo>
                    <a:pt x="1910118" y="1338516"/>
                  </a:lnTo>
                  <a:lnTo>
                    <a:pt x="1929066" y="1293990"/>
                  </a:lnTo>
                  <a:lnTo>
                    <a:pt x="1945716" y="1248371"/>
                  </a:lnTo>
                  <a:lnTo>
                    <a:pt x="1960003" y="1201724"/>
                  </a:lnTo>
                  <a:lnTo>
                    <a:pt x="1971840" y="1154137"/>
                  </a:lnTo>
                  <a:lnTo>
                    <a:pt x="1981161" y="1105662"/>
                  </a:lnTo>
                  <a:lnTo>
                    <a:pt x="1987905" y="1056347"/>
                  </a:lnTo>
                  <a:lnTo>
                    <a:pt x="1992007" y="1006297"/>
                  </a:lnTo>
                  <a:lnTo>
                    <a:pt x="1993392" y="955547"/>
                  </a:lnTo>
                  <a:lnTo>
                    <a:pt x="1992007" y="904798"/>
                  </a:lnTo>
                  <a:lnTo>
                    <a:pt x="1987905" y="854735"/>
                  </a:lnTo>
                  <a:lnTo>
                    <a:pt x="1981161" y="805434"/>
                  </a:lnTo>
                  <a:lnTo>
                    <a:pt x="1971840" y="756958"/>
                  </a:lnTo>
                  <a:lnTo>
                    <a:pt x="1960003" y="709371"/>
                  </a:lnTo>
                  <a:lnTo>
                    <a:pt x="1945716" y="662724"/>
                  </a:lnTo>
                  <a:lnTo>
                    <a:pt x="1929066" y="617105"/>
                  </a:lnTo>
                  <a:lnTo>
                    <a:pt x="1910118" y="572579"/>
                  </a:lnTo>
                  <a:lnTo>
                    <a:pt x="1888921" y="529196"/>
                  </a:lnTo>
                  <a:lnTo>
                    <a:pt x="1865566" y="487032"/>
                  </a:lnTo>
                  <a:lnTo>
                    <a:pt x="1840115" y="446163"/>
                  </a:lnTo>
                  <a:lnTo>
                    <a:pt x="1812632" y="406628"/>
                  </a:lnTo>
                  <a:lnTo>
                    <a:pt x="1783194" y="368515"/>
                  </a:lnTo>
                  <a:lnTo>
                    <a:pt x="1751863" y="331889"/>
                  </a:lnTo>
                  <a:lnTo>
                    <a:pt x="1718703" y="296811"/>
                  </a:lnTo>
                  <a:lnTo>
                    <a:pt x="1683791" y="263347"/>
                  </a:lnTo>
                  <a:lnTo>
                    <a:pt x="1647202" y="231559"/>
                  </a:lnTo>
                  <a:lnTo>
                    <a:pt x="1609001" y="201523"/>
                  </a:lnTo>
                  <a:lnTo>
                    <a:pt x="1569250" y="173291"/>
                  </a:lnTo>
                  <a:lnTo>
                    <a:pt x="1528013" y="146951"/>
                  </a:lnTo>
                  <a:lnTo>
                    <a:pt x="1485379" y="122542"/>
                  </a:lnTo>
                  <a:lnTo>
                    <a:pt x="1441399" y="100152"/>
                  </a:lnTo>
                  <a:lnTo>
                    <a:pt x="1396161" y="79832"/>
                  </a:lnTo>
                  <a:lnTo>
                    <a:pt x="1349705" y="61671"/>
                  </a:lnTo>
                  <a:lnTo>
                    <a:pt x="1302118" y="45707"/>
                  </a:lnTo>
                  <a:lnTo>
                    <a:pt x="1253477" y="32016"/>
                  </a:lnTo>
                  <a:lnTo>
                    <a:pt x="1203833" y="20662"/>
                  </a:lnTo>
                  <a:lnTo>
                    <a:pt x="1153274" y="11722"/>
                  </a:lnTo>
                  <a:lnTo>
                    <a:pt x="1101839" y="5257"/>
                  </a:lnTo>
                  <a:lnTo>
                    <a:pt x="1049629" y="1320"/>
                  </a:lnTo>
                  <a:lnTo>
                    <a:pt x="99669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object 12">
              <a:extLst>
                <a:ext uri="{FF2B5EF4-FFF2-40B4-BE49-F238E27FC236}">
                  <a16:creationId xmlns:a16="http://schemas.microsoft.com/office/drawing/2014/main" id="{C54BE4CA-889D-EB5E-CA2A-5F9EE881F414}"/>
                </a:ext>
              </a:extLst>
            </p:cNvPr>
            <p:cNvSpPr/>
            <p:nvPr/>
          </p:nvSpPr>
          <p:spPr>
            <a:xfrm>
              <a:off x="4002785" y="3653790"/>
              <a:ext cx="1993900" cy="1911350"/>
            </a:xfrm>
            <a:custGeom>
              <a:avLst/>
              <a:gdLst/>
              <a:ahLst/>
              <a:cxnLst/>
              <a:rect l="l" t="t" r="r" b="b"/>
              <a:pathLst>
                <a:path w="1993900" h="1911350">
                  <a:moveTo>
                    <a:pt x="996696" y="0"/>
                  </a:moveTo>
                  <a:lnTo>
                    <a:pt x="943762" y="1320"/>
                  </a:lnTo>
                  <a:lnTo>
                    <a:pt x="891552" y="5257"/>
                  </a:lnTo>
                  <a:lnTo>
                    <a:pt x="840117" y="11722"/>
                  </a:lnTo>
                  <a:lnTo>
                    <a:pt x="789559" y="20662"/>
                  </a:lnTo>
                  <a:lnTo>
                    <a:pt x="739914" y="32016"/>
                  </a:lnTo>
                  <a:lnTo>
                    <a:pt x="691261" y="45707"/>
                  </a:lnTo>
                  <a:lnTo>
                    <a:pt x="643686" y="61671"/>
                  </a:lnTo>
                  <a:lnTo>
                    <a:pt x="597230" y="79832"/>
                  </a:lnTo>
                  <a:lnTo>
                    <a:pt x="551980" y="100152"/>
                  </a:lnTo>
                  <a:lnTo>
                    <a:pt x="508012" y="122542"/>
                  </a:lnTo>
                  <a:lnTo>
                    <a:pt x="465366" y="146951"/>
                  </a:lnTo>
                  <a:lnTo>
                    <a:pt x="424141" y="173291"/>
                  </a:lnTo>
                  <a:lnTo>
                    <a:pt x="384390" y="201523"/>
                  </a:lnTo>
                  <a:lnTo>
                    <a:pt x="346189" y="231559"/>
                  </a:lnTo>
                  <a:lnTo>
                    <a:pt x="309587" y="263347"/>
                  </a:lnTo>
                  <a:lnTo>
                    <a:pt x="274688" y="296811"/>
                  </a:lnTo>
                  <a:lnTo>
                    <a:pt x="241528" y="331889"/>
                  </a:lnTo>
                  <a:lnTo>
                    <a:pt x="210197" y="368515"/>
                  </a:lnTo>
                  <a:lnTo>
                    <a:pt x="180759" y="406628"/>
                  </a:lnTo>
                  <a:lnTo>
                    <a:pt x="153276" y="446163"/>
                  </a:lnTo>
                  <a:lnTo>
                    <a:pt x="127825" y="487032"/>
                  </a:lnTo>
                  <a:lnTo>
                    <a:pt x="104470" y="529196"/>
                  </a:lnTo>
                  <a:lnTo>
                    <a:pt x="83273" y="572579"/>
                  </a:lnTo>
                  <a:lnTo>
                    <a:pt x="64325" y="617105"/>
                  </a:lnTo>
                  <a:lnTo>
                    <a:pt x="47663" y="662724"/>
                  </a:lnTo>
                  <a:lnTo>
                    <a:pt x="33388" y="709371"/>
                  </a:lnTo>
                  <a:lnTo>
                    <a:pt x="21551" y="756958"/>
                  </a:lnTo>
                  <a:lnTo>
                    <a:pt x="12230" y="805434"/>
                  </a:lnTo>
                  <a:lnTo>
                    <a:pt x="5473" y="854735"/>
                  </a:lnTo>
                  <a:lnTo>
                    <a:pt x="1384" y="904798"/>
                  </a:lnTo>
                  <a:lnTo>
                    <a:pt x="0" y="955547"/>
                  </a:lnTo>
                  <a:lnTo>
                    <a:pt x="1384" y="1006297"/>
                  </a:lnTo>
                  <a:lnTo>
                    <a:pt x="5473" y="1056347"/>
                  </a:lnTo>
                  <a:lnTo>
                    <a:pt x="12230" y="1105662"/>
                  </a:lnTo>
                  <a:lnTo>
                    <a:pt x="21551" y="1154137"/>
                  </a:lnTo>
                  <a:lnTo>
                    <a:pt x="33388" y="1201724"/>
                  </a:lnTo>
                  <a:lnTo>
                    <a:pt x="47663" y="1248371"/>
                  </a:lnTo>
                  <a:lnTo>
                    <a:pt x="64325" y="1293990"/>
                  </a:lnTo>
                  <a:lnTo>
                    <a:pt x="83273" y="1338516"/>
                  </a:lnTo>
                  <a:lnTo>
                    <a:pt x="104470" y="1381899"/>
                  </a:lnTo>
                  <a:lnTo>
                    <a:pt x="127825" y="1424063"/>
                  </a:lnTo>
                  <a:lnTo>
                    <a:pt x="153276" y="1464932"/>
                  </a:lnTo>
                  <a:lnTo>
                    <a:pt x="180759" y="1504467"/>
                  </a:lnTo>
                  <a:lnTo>
                    <a:pt x="210197" y="1542580"/>
                  </a:lnTo>
                  <a:lnTo>
                    <a:pt x="241528" y="1579206"/>
                  </a:lnTo>
                  <a:lnTo>
                    <a:pt x="274688" y="1614284"/>
                  </a:lnTo>
                  <a:lnTo>
                    <a:pt x="309587" y="1647748"/>
                  </a:lnTo>
                  <a:lnTo>
                    <a:pt x="346189" y="1679536"/>
                  </a:lnTo>
                  <a:lnTo>
                    <a:pt x="384390" y="1709572"/>
                  </a:lnTo>
                  <a:lnTo>
                    <a:pt x="424141" y="1737804"/>
                  </a:lnTo>
                  <a:lnTo>
                    <a:pt x="465366" y="1764144"/>
                  </a:lnTo>
                  <a:lnTo>
                    <a:pt x="508012" y="1788553"/>
                  </a:lnTo>
                  <a:lnTo>
                    <a:pt x="551980" y="1810943"/>
                  </a:lnTo>
                  <a:lnTo>
                    <a:pt x="597230" y="1831251"/>
                  </a:lnTo>
                  <a:lnTo>
                    <a:pt x="643686" y="1849424"/>
                  </a:lnTo>
                  <a:lnTo>
                    <a:pt x="691261" y="1865388"/>
                  </a:lnTo>
                  <a:lnTo>
                    <a:pt x="739914" y="1879079"/>
                  </a:lnTo>
                  <a:lnTo>
                    <a:pt x="789559" y="1890433"/>
                  </a:lnTo>
                  <a:lnTo>
                    <a:pt x="840117" y="1899373"/>
                  </a:lnTo>
                  <a:lnTo>
                    <a:pt x="891552" y="1905838"/>
                  </a:lnTo>
                  <a:lnTo>
                    <a:pt x="943762" y="1909775"/>
                  </a:lnTo>
                  <a:lnTo>
                    <a:pt x="996696" y="1911095"/>
                  </a:lnTo>
                  <a:lnTo>
                    <a:pt x="1049629" y="1909775"/>
                  </a:lnTo>
                  <a:lnTo>
                    <a:pt x="1101839" y="1905838"/>
                  </a:lnTo>
                  <a:lnTo>
                    <a:pt x="1153274" y="1899373"/>
                  </a:lnTo>
                  <a:lnTo>
                    <a:pt x="1203833" y="1890433"/>
                  </a:lnTo>
                  <a:lnTo>
                    <a:pt x="1253477" y="1879079"/>
                  </a:lnTo>
                  <a:lnTo>
                    <a:pt x="1302118" y="1865388"/>
                  </a:lnTo>
                  <a:lnTo>
                    <a:pt x="1349705" y="1849424"/>
                  </a:lnTo>
                  <a:lnTo>
                    <a:pt x="1396161" y="1831251"/>
                  </a:lnTo>
                  <a:lnTo>
                    <a:pt x="1441399" y="1810943"/>
                  </a:lnTo>
                  <a:lnTo>
                    <a:pt x="1485379" y="1788553"/>
                  </a:lnTo>
                  <a:lnTo>
                    <a:pt x="1528013" y="1764144"/>
                  </a:lnTo>
                  <a:lnTo>
                    <a:pt x="1569250" y="1737804"/>
                  </a:lnTo>
                  <a:lnTo>
                    <a:pt x="1609001" y="1709572"/>
                  </a:lnTo>
                  <a:lnTo>
                    <a:pt x="1647202" y="1679536"/>
                  </a:lnTo>
                  <a:lnTo>
                    <a:pt x="1683791" y="1647748"/>
                  </a:lnTo>
                  <a:lnTo>
                    <a:pt x="1718703" y="1614284"/>
                  </a:lnTo>
                  <a:lnTo>
                    <a:pt x="1751863" y="1579206"/>
                  </a:lnTo>
                  <a:lnTo>
                    <a:pt x="1783194" y="1542580"/>
                  </a:lnTo>
                  <a:lnTo>
                    <a:pt x="1812632" y="1504467"/>
                  </a:lnTo>
                  <a:lnTo>
                    <a:pt x="1840115" y="1464932"/>
                  </a:lnTo>
                  <a:lnTo>
                    <a:pt x="1865566" y="1424063"/>
                  </a:lnTo>
                  <a:lnTo>
                    <a:pt x="1888921" y="1381899"/>
                  </a:lnTo>
                  <a:lnTo>
                    <a:pt x="1910118" y="1338516"/>
                  </a:lnTo>
                  <a:lnTo>
                    <a:pt x="1929066" y="1293990"/>
                  </a:lnTo>
                  <a:lnTo>
                    <a:pt x="1945716" y="1248371"/>
                  </a:lnTo>
                  <a:lnTo>
                    <a:pt x="1960003" y="1201724"/>
                  </a:lnTo>
                  <a:lnTo>
                    <a:pt x="1971840" y="1154137"/>
                  </a:lnTo>
                  <a:lnTo>
                    <a:pt x="1981161" y="1105662"/>
                  </a:lnTo>
                  <a:lnTo>
                    <a:pt x="1987905" y="1056347"/>
                  </a:lnTo>
                  <a:lnTo>
                    <a:pt x="1992007" y="1006297"/>
                  </a:lnTo>
                  <a:lnTo>
                    <a:pt x="1993392" y="955547"/>
                  </a:lnTo>
                  <a:lnTo>
                    <a:pt x="1992007" y="904798"/>
                  </a:lnTo>
                  <a:lnTo>
                    <a:pt x="1987905" y="854735"/>
                  </a:lnTo>
                  <a:lnTo>
                    <a:pt x="1981161" y="805434"/>
                  </a:lnTo>
                  <a:lnTo>
                    <a:pt x="1971840" y="756958"/>
                  </a:lnTo>
                  <a:lnTo>
                    <a:pt x="1960003" y="709371"/>
                  </a:lnTo>
                  <a:lnTo>
                    <a:pt x="1945716" y="662724"/>
                  </a:lnTo>
                  <a:lnTo>
                    <a:pt x="1929066" y="617105"/>
                  </a:lnTo>
                  <a:lnTo>
                    <a:pt x="1910118" y="572579"/>
                  </a:lnTo>
                  <a:lnTo>
                    <a:pt x="1888921" y="529196"/>
                  </a:lnTo>
                  <a:lnTo>
                    <a:pt x="1865566" y="487032"/>
                  </a:lnTo>
                  <a:lnTo>
                    <a:pt x="1840115" y="446163"/>
                  </a:lnTo>
                  <a:lnTo>
                    <a:pt x="1812632" y="406628"/>
                  </a:lnTo>
                  <a:lnTo>
                    <a:pt x="1783194" y="368515"/>
                  </a:lnTo>
                  <a:lnTo>
                    <a:pt x="1751863" y="331889"/>
                  </a:lnTo>
                  <a:lnTo>
                    <a:pt x="1718703" y="296811"/>
                  </a:lnTo>
                  <a:lnTo>
                    <a:pt x="1683791" y="263347"/>
                  </a:lnTo>
                  <a:lnTo>
                    <a:pt x="1647202" y="231559"/>
                  </a:lnTo>
                  <a:lnTo>
                    <a:pt x="1609001" y="201523"/>
                  </a:lnTo>
                  <a:lnTo>
                    <a:pt x="1569250" y="173291"/>
                  </a:lnTo>
                  <a:lnTo>
                    <a:pt x="1528013" y="146951"/>
                  </a:lnTo>
                  <a:lnTo>
                    <a:pt x="1485379" y="122542"/>
                  </a:lnTo>
                  <a:lnTo>
                    <a:pt x="1441399" y="100152"/>
                  </a:lnTo>
                  <a:lnTo>
                    <a:pt x="1396161" y="79832"/>
                  </a:lnTo>
                  <a:lnTo>
                    <a:pt x="1349705" y="61671"/>
                  </a:lnTo>
                  <a:lnTo>
                    <a:pt x="1302118" y="45707"/>
                  </a:lnTo>
                  <a:lnTo>
                    <a:pt x="1253477" y="32016"/>
                  </a:lnTo>
                  <a:lnTo>
                    <a:pt x="1203833" y="20662"/>
                  </a:lnTo>
                  <a:lnTo>
                    <a:pt x="1153274" y="11722"/>
                  </a:lnTo>
                  <a:lnTo>
                    <a:pt x="1101839" y="5257"/>
                  </a:lnTo>
                  <a:lnTo>
                    <a:pt x="1049629" y="1320"/>
                  </a:lnTo>
                  <a:lnTo>
                    <a:pt x="996696" y="0"/>
                  </a:lnTo>
                  <a:close/>
                </a:path>
              </a:pathLst>
            </a:custGeom>
            <a:ln w="50800">
              <a:solidFill>
                <a:srgbClr val="000000"/>
              </a:solidFill>
              <a:prstDash val="lg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object 13">
              <a:extLst>
                <a:ext uri="{FF2B5EF4-FFF2-40B4-BE49-F238E27FC236}">
                  <a16:creationId xmlns:a16="http://schemas.microsoft.com/office/drawing/2014/main" id="{4E135612-770C-68E3-9092-F9BDDDE41436}"/>
                </a:ext>
              </a:extLst>
            </p:cNvPr>
            <p:cNvSpPr/>
            <p:nvPr/>
          </p:nvSpPr>
          <p:spPr>
            <a:xfrm>
              <a:off x="4002785" y="3653790"/>
              <a:ext cx="1993900" cy="1911350"/>
            </a:xfrm>
            <a:custGeom>
              <a:avLst/>
              <a:gdLst/>
              <a:ahLst/>
              <a:cxnLst/>
              <a:rect l="l" t="t" r="r" b="b"/>
              <a:pathLst>
                <a:path w="1993900" h="1911350">
                  <a:moveTo>
                    <a:pt x="996696" y="0"/>
                  </a:moveTo>
                  <a:lnTo>
                    <a:pt x="943762" y="1320"/>
                  </a:lnTo>
                  <a:lnTo>
                    <a:pt x="891552" y="5257"/>
                  </a:lnTo>
                  <a:lnTo>
                    <a:pt x="840117" y="11722"/>
                  </a:lnTo>
                  <a:lnTo>
                    <a:pt x="789559" y="20662"/>
                  </a:lnTo>
                  <a:lnTo>
                    <a:pt x="739914" y="32016"/>
                  </a:lnTo>
                  <a:lnTo>
                    <a:pt x="691261" y="45707"/>
                  </a:lnTo>
                  <a:lnTo>
                    <a:pt x="643686" y="61671"/>
                  </a:lnTo>
                  <a:lnTo>
                    <a:pt x="597230" y="79832"/>
                  </a:lnTo>
                  <a:lnTo>
                    <a:pt x="551992" y="100152"/>
                  </a:lnTo>
                  <a:lnTo>
                    <a:pt x="508012" y="122542"/>
                  </a:lnTo>
                  <a:lnTo>
                    <a:pt x="465366" y="146951"/>
                  </a:lnTo>
                  <a:lnTo>
                    <a:pt x="424141" y="173291"/>
                  </a:lnTo>
                  <a:lnTo>
                    <a:pt x="384390" y="201523"/>
                  </a:lnTo>
                  <a:lnTo>
                    <a:pt x="346189" y="231559"/>
                  </a:lnTo>
                  <a:lnTo>
                    <a:pt x="309587" y="263347"/>
                  </a:lnTo>
                  <a:lnTo>
                    <a:pt x="274688" y="296811"/>
                  </a:lnTo>
                  <a:lnTo>
                    <a:pt x="241528" y="331889"/>
                  </a:lnTo>
                  <a:lnTo>
                    <a:pt x="210197" y="368515"/>
                  </a:lnTo>
                  <a:lnTo>
                    <a:pt x="180759" y="406628"/>
                  </a:lnTo>
                  <a:lnTo>
                    <a:pt x="153276" y="446163"/>
                  </a:lnTo>
                  <a:lnTo>
                    <a:pt x="127825" y="487032"/>
                  </a:lnTo>
                  <a:lnTo>
                    <a:pt x="104470" y="529196"/>
                  </a:lnTo>
                  <a:lnTo>
                    <a:pt x="83273" y="572579"/>
                  </a:lnTo>
                  <a:lnTo>
                    <a:pt x="64325" y="617105"/>
                  </a:lnTo>
                  <a:lnTo>
                    <a:pt x="47663" y="662724"/>
                  </a:lnTo>
                  <a:lnTo>
                    <a:pt x="33388" y="709371"/>
                  </a:lnTo>
                  <a:lnTo>
                    <a:pt x="21551" y="756958"/>
                  </a:lnTo>
                  <a:lnTo>
                    <a:pt x="12230" y="805434"/>
                  </a:lnTo>
                  <a:lnTo>
                    <a:pt x="5473" y="854735"/>
                  </a:lnTo>
                  <a:lnTo>
                    <a:pt x="1384" y="904798"/>
                  </a:lnTo>
                  <a:lnTo>
                    <a:pt x="0" y="955548"/>
                  </a:lnTo>
                  <a:lnTo>
                    <a:pt x="1384" y="1006297"/>
                  </a:lnTo>
                  <a:lnTo>
                    <a:pt x="5473" y="1056347"/>
                  </a:lnTo>
                  <a:lnTo>
                    <a:pt x="12230" y="1105662"/>
                  </a:lnTo>
                  <a:lnTo>
                    <a:pt x="21551" y="1154137"/>
                  </a:lnTo>
                  <a:lnTo>
                    <a:pt x="33388" y="1201724"/>
                  </a:lnTo>
                  <a:lnTo>
                    <a:pt x="47663" y="1248371"/>
                  </a:lnTo>
                  <a:lnTo>
                    <a:pt x="64325" y="1293990"/>
                  </a:lnTo>
                  <a:lnTo>
                    <a:pt x="83273" y="1338516"/>
                  </a:lnTo>
                  <a:lnTo>
                    <a:pt x="104470" y="1381899"/>
                  </a:lnTo>
                  <a:lnTo>
                    <a:pt x="127825" y="1424063"/>
                  </a:lnTo>
                  <a:lnTo>
                    <a:pt x="153276" y="1464932"/>
                  </a:lnTo>
                  <a:lnTo>
                    <a:pt x="180759" y="1504467"/>
                  </a:lnTo>
                  <a:lnTo>
                    <a:pt x="210197" y="1542580"/>
                  </a:lnTo>
                  <a:lnTo>
                    <a:pt x="241528" y="1579206"/>
                  </a:lnTo>
                  <a:lnTo>
                    <a:pt x="274688" y="1614284"/>
                  </a:lnTo>
                  <a:lnTo>
                    <a:pt x="309587" y="1647748"/>
                  </a:lnTo>
                  <a:lnTo>
                    <a:pt x="346189" y="1679536"/>
                  </a:lnTo>
                  <a:lnTo>
                    <a:pt x="384390" y="1709572"/>
                  </a:lnTo>
                  <a:lnTo>
                    <a:pt x="424141" y="1737804"/>
                  </a:lnTo>
                  <a:lnTo>
                    <a:pt x="465366" y="1764144"/>
                  </a:lnTo>
                  <a:lnTo>
                    <a:pt x="508012" y="1788553"/>
                  </a:lnTo>
                  <a:lnTo>
                    <a:pt x="551992" y="1810943"/>
                  </a:lnTo>
                  <a:lnTo>
                    <a:pt x="597230" y="1831263"/>
                  </a:lnTo>
                  <a:lnTo>
                    <a:pt x="643686" y="1849424"/>
                  </a:lnTo>
                  <a:lnTo>
                    <a:pt x="691261" y="1865388"/>
                  </a:lnTo>
                  <a:lnTo>
                    <a:pt x="739914" y="1879079"/>
                  </a:lnTo>
                  <a:lnTo>
                    <a:pt x="789559" y="1890433"/>
                  </a:lnTo>
                  <a:lnTo>
                    <a:pt x="840117" y="1899373"/>
                  </a:lnTo>
                  <a:lnTo>
                    <a:pt x="891552" y="1905838"/>
                  </a:lnTo>
                  <a:lnTo>
                    <a:pt x="943762" y="1909775"/>
                  </a:lnTo>
                  <a:lnTo>
                    <a:pt x="996696" y="1911096"/>
                  </a:lnTo>
                  <a:lnTo>
                    <a:pt x="1049629" y="1909775"/>
                  </a:lnTo>
                  <a:lnTo>
                    <a:pt x="1101839" y="1905838"/>
                  </a:lnTo>
                  <a:lnTo>
                    <a:pt x="1153274" y="1899373"/>
                  </a:lnTo>
                  <a:lnTo>
                    <a:pt x="1203833" y="1890433"/>
                  </a:lnTo>
                  <a:lnTo>
                    <a:pt x="1253477" y="1879079"/>
                  </a:lnTo>
                  <a:lnTo>
                    <a:pt x="1302118" y="1865388"/>
                  </a:lnTo>
                  <a:lnTo>
                    <a:pt x="1349705" y="1849424"/>
                  </a:lnTo>
                  <a:lnTo>
                    <a:pt x="1396161" y="1831263"/>
                  </a:lnTo>
                  <a:lnTo>
                    <a:pt x="1441399" y="1810943"/>
                  </a:lnTo>
                  <a:lnTo>
                    <a:pt x="1485379" y="1788553"/>
                  </a:lnTo>
                  <a:lnTo>
                    <a:pt x="1528013" y="1764144"/>
                  </a:lnTo>
                  <a:lnTo>
                    <a:pt x="1569250" y="1737804"/>
                  </a:lnTo>
                  <a:lnTo>
                    <a:pt x="1609001" y="1709572"/>
                  </a:lnTo>
                  <a:lnTo>
                    <a:pt x="1647202" y="1679536"/>
                  </a:lnTo>
                  <a:lnTo>
                    <a:pt x="1683791" y="1647748"/>
                  </a:lnTo>
                  <a:lnTo>
                    <a:pt x="1718703" y="1614284"/>
                  </a:lnTo>
                  <a:lnTo>
                    <a:pt x="1751863" y="1579206"/>
                  </a:lnTo>
                  <a:lnTo>
                    <a:pt x="1783194" y="1542580"/>
                  </a:lnTo>
                  <a:lnTo>
                    <a:pt x="1812632" y="1504467"/>
                  </a:lnTo>
                  <a:lnTo>
                    <a:pt x="1840115" y="1464932"/>
                  </a:lnTo>
                  <a:lnTo>
                    <a:pt x="1865566" y="1424063"/>
                  </a:lnTo>
                  <a:lnTo>
                    <a:pt x="1888921" y="1381899"/>
                  </a:lnTo>
                  <a:lnTo>
                    <a:pt x="1910118" y="1338516"/>
                  </a:lnTo>
                  <a:lnTo>
                    <a:pt x="1929066" y="1293990"/>
                  </a:lnTo>
                  <a:lnTo>
                    <a:pt x="1945716" y="1248371"/>
                  </a:lnTo>
                  <a:lnTo>
                    <a:pt x="1960003" y="1201724"/>
                  </a:lnTo>
                  <a:lnTo>
                    <a:pt x="1971840" y="1154137"/>
                  </a:lnTo>
                  <a:lnTo>
                    <a:pt x="1981161" y="1105662"/>
                  </a:lnTo>
                  <a:lnTo>
                    <a:pt x="1987905" y="1056347"/>
                  </a:lnTo>
                  <a:lnTo>
                    <a:pt x="1992007" y="1006297"/>
                  </a:lnTo>
                  <a:lnTo>
                    <a:pt x="1993392" y="955548"/>
                  </a:lnTo>
                  <a:lnTo>
                    <a:pt x="1992007" y="904798"/>
                  </a:lnTo>
                  <a:lnTo>
                    <a:pt x="1987905" y="854735"/>
                  </a:lnTo>
                  <a:lnTo>
                    <a:pt x="1981161" y="805434"/>
                  </a:lnTo>
                  <a:lnTo>
                    <a:pt x="1971840" y="756958"/>
                  </a:lnTo>
                  <a:lnTo>
                    <a:pt x="1960003" y="709371"/>
                  </a:lnTo>
                  <a:lnTo>
                    <a:pt x="1945716" y="662724"/>
                  </a:lnTo>
                  <a:lnTo>
                    <a:pt x="1929066" y="617105"/>
                  </a:lnTo>
                  <a:lnTo>
                    <a:pt x="1910118" y="572579"/>
                  </a:lnTo>
                  <a:lnTo>
                    <a:pt x="1888921" y="529196"/>
                  </a:lnTo>
                  <a:lnTo>
                    <a:pt x="1865566" y="487032"/>
                  </a:lnTo>
                  <a:lnTo>
                    <a:pt x="1840115" y="446163"/>
                  </a:lnTo>
                  <a:lnTo>
                    <a:pt x="1812632" y="406628"/>
                  </a:lnTo>
                  <a:lnTo>
                    <a:pt x="1783194" y="368515"/>
                  </a:lnTo>
                  <a:lnTo>
                    <a:pt x="1751863" y="331889"/>
                  </a:lnTo>
                  <a:lnTo>
                    <a:pt x="1718703" y="296811"/>
                  </a:lnTo>
                  <a:lnTo>
                    <a:pt x="1683791" y="263347"/>
                  </a:lnTo>
                  <a:lnTo>
                    <a:pt x="1647202" y="231559"/>
                  </a:lnTo>
                  <a:lnTo>
                    <a:pt x="1609001" y="201523"/>
                  </a:lnTo>
                  <a:lnTo>
                    <a:pt x="1569250" y="173291"/>
                  </a:lnTo>
                  <a:lnTo>
                    <a:pt x="1528013" y="146951"/>
                  </a:lnTo>
                  <a:lnTo>
                    <a:pt x="1485379" y="122542"/>
                  </a:lnTo>
                  <a:lnTo>
                    <a:pt x="1441399" y="100152"/>
                  </a:lnTo>
                  <a:lnTo>
                    <a:pt x="1396161" y="79832"/>
                  </a:lnTo>
                  <a:lnTo>
                    <a:pt x="1349705" y="61671"/>
                  </a:lnTo>
                  <a:lnTo>
                    <a:pt x="1302118" y="45707"/>
                  </a:lnTo>
                  <a:lnTo>
                    <a:pt x="1253477" y="32016"/>
                  </a:lnTo>
                  <a:lnTo>
                    <a:pt x="1203833" y="20662"/>
                  </a:lnTo>
                  <a:lnTo>
                    <a:pt x="1153274" y="11722"/>
                  </a:lnTo>
                  <a:lnTo>
                    <a:pt x="1101839" y="5257"/>
                  </a:lnTo>
                  <a:lnTo>
                    <a:pt x="1049629" y="1320"/>
                  </a:lnTo>
                  <a:lnTo>
                    <a:pt x="996696" y="0"/>
                  </a:lnTo>
                  <a:close/>
                </a:path>
              </a:pathLst>
            </a:custGeom>
            <a:solidFill>
              <a:schemeClr val="tx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object 14">
              <a:extLst>
                <a:ext uri="{FF2B5EF4-FFF2-40B4-BE49-F238E27FC236}">
                  <a16:creationId xmlns:a16="http://schemas.microsoft.com/office/drawing/2014/main" id="{1D38C601-CF1C-51DC-E0DD-C1500A3017F4}"/>
                </a:ext>
              </a:extLst>
            </p:cNvPr>
            <p:cNvSpPr/>
            <p:nvPr/>
          </p:nvSpPr>
          <p:spPr>
            <a:xfrm>
              <a:off x="4002785" y="3653790"/>
              <a:ext cx="1993900" cy="1911350"/>
            </a:xfrm>
            <a:custGeom>
              <a:avLst/>
              <a:gdLst/>
              <a:ahLst/>
              <a:cxnLst/>
              <a:rect l="l" t="t" r="r" b="b"/>
              <a:pathLst>
                <a:path w="1993900" h="1911350">
                  <a:moveTo>
                    <a:pt x="0" y="955548"/>
                  </a:moveTo>
                  <a:lnTo>
                    <a:pt x="1384" y="904798"/>
                  </a:lnTo>
                  <a:lnTo>
                    <a:pt x="5473" y="854735"/>
                  </a:lnTo>
                  <a:lnTo>
                    <a:pt x="12230" y="805434"/>
                  </a:lnTo>
                  <a:lnTo>
                    <a:pt x="21551" y="756958"/>
                  </a:lnTo>
                  <a:lnTo>
                    <a:pt x="33388" y="709371"/>
                  </a:lnTo>
                  <a:lnTo>
                    <a:pt x="47663" y="662724"/>
                  </a:lnTo>
                  <a:lnTo>
                    <a:pt x="64325" y="617105"/>
                  </a:lnTo>
                  <a:lnTo>
                    <a:pt x="83273" y="572579"/>
                  </a:lnTo>
                  <a:lnTo>
                    <a:pt x="104470" y="529196"/>
                  </a:lnTo>
                  <a:lnTo>
                    <a:pt x="127825" y="487032"/>
                  </a:lnTo>
                  <a:lnTo>
                    <a:pt x="153276" y="446163"/>
                  </a:lnTo>
                  <a:lnTo>
                    <a:pt x="180759" y="406628"/>
                  </a:lnTo>
                  <a:lnTo>
                    <a:pt x="210197" y="368515"/>
                  </a:lnTo>
                  <a:lnTo>
                    <a:pt x="241528" y="331889"/>
                  </a:lnTo>
                  <a:lnTo>
                    <a:pt x="274688" y="296811"/>
                  </a:lnTo>
                  <a:lnTo>
                    <a:pt x="309587" y="263347"/>
                  </a:lnTo>
                  <a:lnTo>
                    <a:pt x="346189" y="231559"/>
                  </a:lnTo>
                  <a:lnTo>
                    <a:pt x="384390" y="201523"/>
                  </a:lnTo>
                  <a:lnTo>
                    <a:pt x="424141" y="173291"/>
                  </a:lnTo>
                  <a:lnTo>
                    <a:pt x="465366" y="146951"/>
                  </a:lnTo>
                  <a:lnTo>
                    <a:pt x="508012" y="122542"/>
                  </a:lnTo>
                  <a:lnTo>
                    <a:pt x="551992" y="100152"/>
                  </a:lnTo>
                  <a:lnTo>
                    <a:pt x="597230" y="79832"/>
                  </a:lnTo>
                  <a:lnTo>
                    <a:pt x="643686" y="61671"/>
                  </a:lnTo>
                  <a:lnTo>
                    <a:pt x="691261" y="45707"/>
                  </a:lnTo>
                  <a:lnTo>
                    <a:pt x="739914" y="32016"/>
                  </a:lnTo>
                  <a:lnTo>
                    <a:pt x="789559" y="20662"/>
                  </a:lnTo>
                  <a:lnTo>
                    <a:pt x="840117" y="11722"/>
                  </a:lnTo>
                  <a:lnTo>
                    <a:pt x="891552" y="5257"/>
                  </a:lnTo>
                  <a:lnTo>
                    <a:pt x="943762" y="1320"/>
                  </a:lnTo>
                  <a:lnTo>
                    <a:pt x="996696" y="0"/>
                  </a:lnTo>
                  <a:lnTo>
                    <a:pt x="1049629" y="1320"/>
                  </a:lnTo>
                  <a:lnTo>
                    <a:pt x="1101839" y="5257"/>
                  </a:lnTo>
                  <a:lnTo>
                    <a:pt x="1153274" y="11722"/>
                  </a:lnTo>
                  <a:lnTo>
                    <a:pt x="1203833" y="20662"/>
                  </a:lnTo>
                  <a:lnTo>
                    <a:pt x="1253477" y="32016"/>
                  </a:lnTo>
                  <a:lnTo>
                    <a:pt x="1302118" y="45707"/>
                  </a:lnTo>
                  <a:lnTo>
                    <a:pt x="1349705" y="61671"/>
                  </a:lnTo>
                  <a:lnTo>
                    <a:pt x="1396161" y="79832"/>
                  </a:lnTo>
                  <a:lnTo>
                    <a:pt x="1441399" y="100152"/>
                  </a:lnTo>
                  <a:lnTo>
                    <a:pt x="1485379" y="122542"/>
                  </a:lnTo>
                  <a:lnTo>
                    <a:pt x="1528013" y="146951"/>
                  </a:lnTo>
                  <a:lnTo>
                    <a:pt x="1569250" y="173291"/>
                  </a:lnTo>
                  <a:lnTo>
                    <a:pt x="1609001" y="201523"/>
                  </a:lnTo>
                  <a:lnTo>
                    <a:pt x="1647202" y="231559"/>
                  </a:lnTo>
                  <a:lnTo>
                    <a:pt x="1683791" y="263347"/>
                  </a:lnTo>
                  <a:lnTo>
                    <a:pt x="1718703" y="296811"/>
                  </a:lnTo>
                  <a:lnTo>
                    <a:pt x="1751863" y="331889"/>
                  </a:lnTo>
                  <a:lnTo>
                    <a:pt x="1783194" y="368515"/>
                  </a:lnTo>
                  <a:lnTo>
                    <a:pt x="1812632" y="406628"/>
                  </a:lnTo>
                  <a:lnTo>
                    <a:pt x="1840115" y="446163"/>
                  </a:lnTo>
                  <a:lnTo>
                    <a:pt x="1865566" y="487032"/>
                  </a:lnTo>
                  <a:lnTo>
                    <a:pt x="1888921" y="529196"/>
                  </a:lnTo>
                  <a:lnTo>
                    <a:pt x="1910118" y="572579"/>
                  </a:lnTo>
                  <a:lnTo>
                    <a:pt x="1929066" y="617105"/>
                  </a:lnTo>
                  <a:lnTo>
                    <a:pt x="1945716" y="662724"/>
                  </a:lnTo>
                  <a:lnTo>
                    <a:pt x="1960003" y="709371"/>
                  </a:lnTo>
                  <a:lnTo>
                    <a:pt x="1971840" y="756958"/>
                  </a:lnTo>
                  <a:lnTo>
                    <a:pt x="1981161" y="805434"/>
                  </a:lnTo>
                  <a:lnTo>
                    <a:pt x="1987905" y="854735"/>
                  </a:lnTo>
                  <a:lnTo>
                    <a:pt x="1992007" y="904798"/>
                  </a:lnTo>
                  <a:lnTo>
                    <a:pt x="1993392" y="955548"/>
                  </a:lnTo>
                  <a:lnTo>
                    <a:pt x="1992007" y="1006297"/>
                  </a:lnTo>
                  <a:lnTo>
                    <a:pt x="1987905" y="1056347"/>
                  </a:lnTo>
                  <a:lnTo>
                    <a:pt x="1981161" y="1105662"/>
                  </a:lnTo>
                  <a:lnTo>
                    <a:pt x="1971840" y="1154137"/>
                  </a:lnTo>
                  <a:lnTo>
                    <a:pt x="1960003" y="1201724"/>
                  </a:lnTo>
                  <a:lnTo>
                    <a:pt x="1945716" y="1248371"/>
                  </a:lnTo>
                  <a:lnTo>
                    <a:pt x="1929066" y="1293990"/>
                  </a:lnTo>
                  <a:lnTo>
                    <a:pt x="1910118" y="1338516"/>
                  </a:lnTo>
                  <a:lnTo>
                    <a:pt x="1888921" y="1381899"/>
                  </a:lnTo>
                  <a:lnTo>
                    <a:pt x="1865566" y="1424063"/>
                  </a:lnTo>
                  <a:lnTo>
                    <a:pt x="1840115" y="1464932"/>
                  </a:lnTo>
                  <a:lnTo>
                    <a:pt x="1812632" y="1504467"/>
                  </a:lnTo>
                  <a:lnTo>
                    <a:pt x="1783194" y="1542580"/>
                  </a:lnTo>
                  <a:lnTo>
                    <a:pt x="1751863" y="1579206"/>
                  </a:lnTo>
                  <a:lnTo>
                    <a:pt x="1718703" y="1614284"/>
                  </a:lnTo>
                  <a:lnTo>
                    <a:pt x="1683791" y="1647748"/>
                  </a:lnTo>
                  <a:lnTo>
                    <a:pt x="1647202" y="1679536"/>
                  </a:lnTo>
                  <a:lnTo>
                    <a:pt x="1609001" y="1709572"/>
                  </a:lnTo>
                  <a:lnTo>
                    <a:pt x="1569250" y="1737804"/>
                  </a:lnTo>
                  <a:lnTo>
                    <a:pt x="1528013" y="1764144"/>
                  </a:lnTo>
                  <a:lnTo>
                    <a:pt x="1485379" y="1788553"/>
                  </a:lnTo>
                  <a:lnTo>
                    <a:pt x="1441399" y="1810943"/>
                  </a:lnTo>
                  <a:lnTo>
                    <a:pt x="1396161" y="1831263"/>
                  </a:lnTo>
                  <a:lnTo>
                    <a:pt x="1349705" y="1849424"/>
                  </a:lnTo>
                  <a:lnTo>
                    <a:pt x="1302118" y="1865388"/>
                  </a:lnTo>
                  <a:lnTo>
                    <a:pt x="1253477" y="1879079"/>
                  </a:lnTo>
                  <a:lnTo>
                    <a:pt x="1203833" y="1890433"/>
                  </a:lnTo>
                  <a:lnTo>
                    <a:pt x="1153274" y="1899373"/>
                  </a:lnTo>
                  <a:lnTo>
                    <a:pt x="1101839" y="1905838"/>
                  </a:lnTo>
                  <a:lnTo>
                    <a:pt x="1049629" y="1909775"/>
                  </a:lnTo>
                  <a:lnTo>
                    <a:pt x="996696" y="1911096"/>
                  </a:lnTo>
                  <a:lnTo>
                    <a:pt x="943762" y="1909775"/>
                  </a:lnTo>
                  <a:lnTo>
                    <a:pt x="891552" y="1905838"/>
                  </a:lnTo>
                  <a:lnTo>
                    <a:pt x="840117" y="1899373"/>
                  </a:lnTo>
                  <a:lnTo>
                    <a:pt x="789559" y="1890433"/>
                  </a:lnTo>
                  <a:lnTo>
                    <a:pt x="739914" y="1879079"/>
                  </a:lnTo>
                  <a:lnTo>
                    <a:pt x="691261" y="1865388"/>
                  </a:lnTo>
                  <a:lnTo>
                    <a:pt x="643686" y="1849424"/>
                  </a:lnTo>
                  <a:lnTo>
                    <a:pt x="597230" y="1831263"/>
                  </a:lnTo>
                  <a:lnTo>
                    <a:pt x="551992" y="1810943"/>
                  </a:lnTo>
                  <a:lnTo>
                    <a:pt x="508012" y="1788553"/>
                  </a:lnTo>
                  <a:lnTo>
                    <a:pt x="465366" y="1764144"/>
                  </a:lnTo>
                  <a:lnTo>
                    <a:pt x="424141" y="1737804"/>
                  </a:lnTo>
                  <a:lnTo>
                    <a:pt x="384390" y="1709572"/>
                  </a:lnTo>
                  <a:lnTo>
                    <a:pt x="346189" y="1679536"/>
                  </a:lnTo>
                  <a:lnTo>
                    <a:pt x="309587" y="1647748"/>
                  </a:lnTo>
                  <a:lnTo>
                    <a:pt x="274688" y="1614284"/>
                  </a:lnTo>
                  <a:lnTo>
                    <a:pt x="241528" y="1579206"/>
                  </a:lnTo>
                  <a:lnTo>
                    <a:pt x="210197" y="1542580"/>
                  </a:lnTo>
                  <a:lnTo>
                    <a:pt x="180759" y="1504467"/>
                  </a:lnTo>
                  <a:lnTo>
                    <a:pt x="153276" y="1464932"/>
                  </a:lnTo>
                  <a:lnTo>
                    <a:pt x="127825" y="1424063"/>
                  </a:lnTo>
                  <a:lnTo>
                    <a:pt x="104470" y="1381899"/>
                  </a:lnTo>
                  <a:lnTo>
                    <a:pt x="83273" y="1338516"/>
                  </a:lnTo>
                  <a:lnTo>
                    <a:pt x="64325" y="1293990"/>
                  </a:lnTo>
                  <a:lnTo>
                    <a:pt x="47663" y="1248371"/>
                  </a:lnTo>
                  <a:lnTo>
                    <a:pt x="33388" y="1201724"/>
                  </a:lnTo>
                  <a:lnTo>
                    <a:pt x="21551" y="1154137"/>
                  </a:lnTo>
                  <a:lnTo>
                    <a:pt x="12230" y="1105662"/>
                  </a:lnTo>
                  <a:lnTo>
                    <a:pt x="5473" y="1056347"/>
                  </a:lnTo>
                  <a:lnTo>
                    <a:pt x="1384" y="1006297"/>
                  </a:lnTo>
                  <a:lnTo>
                    <a:pt x="0" y="955548"/>
                  </a:lnTo>
                  <a:close/>
                </a:path>
              </a:pathLst>
            </a:custGeom>
            <a:ln w="50800">
              <a:solidFill>
                <a:srgbClr val="000000"/>
              </a:solidFill>
              <a:prstDash val="lg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bject 15">
              <a:extLst>
                <a:ext uri="{FF2B5EF4-FFF2-40B4-BE49-F238E27FC236}">
                  <a16:creationId xmlns:a16="http://schemas.microsoft.com/office/drawing/2014/main" id="{4E0F24BB-F2B7-3A64-E092-BEF1B9050A66}"/>
                </a:ext>
              </a:extLst>
            </p:cNvPr>
            <p:cNvSpPr/>
            <p:nvPr/>
          </p:nvSpPr>
          <p:spPr>
            <a:xfrm>
              <a:off x="4267199" y="4047745"/>
              <a:ext cx="1524000" cy="908911"/>
            </a:xfrm>
            <a:custGeom>
              <a:avLst/>
              <a:gdLst/>
              <a:ahLst/>
              <a:cxnLst/>
              <a:rect l="l" t="t" r="r" b="b"/>
              <a:pathLst>
                <a:path w="1524000" h="1122045">
                  <a:moveTo>
                    <a:pt x="1524000" y="0"/>
                  </a:moveTo>
                  <a:lnTo>
                    <a:pt x="0" y="0"/>
                  </a:lnTo>
                  <a:lnTo>
                    <a:pt x="0" y="1121664"/>
                  </a:lnTo>
                  <a:lnTo>
                    <a:pt x="1524000" y="1121664"/>
                  </a:lnTo>
                  <a:lnTo>
                    <a:pt x="152400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6" name="object 17">
            <a:extLst>
              <a:ext uri="{FF2B5EF4-FFF2-40B4-BE49-F238E27FC236}">
                <a16:creationId xmlns:a16="http://schemas.microsoft.com/office/drawing/2014/main" id="{C6822B12-ABDB-ED88-37F9-2B29BDE27DE1}"/>
              </a:ext>
            </a:extLst>
          </p:cNvPr>
          <p:cNvGraphicFramePr>
            <a:graphicFrameLocks noGrp="1"/>
          </p:cNvGraphicFramePr>
          <p:nvPr>
            <p:extLst>
              <p:ext uri="{D42A27DB-BD31-4B8C-83A1-F6EECF244321}">
                <p14:modId xmlns:p14="http://schemas.microsoft.com/office/powerpoint/2010/main" val="4051813988"/>
              </p:ext>
            </p:extLst>
          </p:nvPr>
        </p:nvGraphicFramePr>
        <p:xfrm>
          <a:off x="255758" y="245762"/>
          <a:ext cx="4408809" cy="2576713"/>
        </p:xfrm>
        <a:graphic>
          <a:graphicData uri="http://schemas.openxmlformats.org/drawingml/2006/table">
            <a:tbl>
              <a:tblPr firstRow="1" bandRow="1">
                <a:tableStyleId>{2D5ABB26-0587-4C30-8999-92F81FD0307C}</a:tableStyleId>
              </a:tblPr>
              <a:tblGrid>
                <a:gridCol w="4408809">
                  <a:extLst>
                    <a:ext uri="{9D8B030D-6E8A-4147-A177-3AD203B41FA5}">
                      <a16:colId xmlns:a16="http://schemas.microsoft.com/office/drawing/2014/main" val="20000"/>
                    </a:ext>
                  </a:extLst>
                </a:gridCol>
              </a:tblGrid>
              <a:tr h="395397">
                <a:tc>
                  <a:txBody>
                    <a:bodyPr/>
                    <a:lstStyle/>
                    <a:p>
                      <a:pPr marL="67945">
                        <a:lnSpc>
                          <a:spcPts val="1320"/>
                        </a:lnSpc>
                      </a:pPr>
                      <a:r>
                        <a:rPr sz="1400" b="1" dirty="0">
                          <a:latin typeface="Calibri"/>
                          <a:cs typeface="Calibri"/>
                        </a:rPr>
                        <a:t>RTI,</a:t>
                      </a:r>
                      <a:r>
                        <a:rPr sz="1400" b="1" spc="10" dirty="0">
                          <a:latin typeface="Calibri"/>
                          <a:cs typeface="Calibri"/>
                        </a:rPr>
                        <a:t> </a:t>
                      </a:r>
                      <a:r>
                        <a:rPr sz="1400" b="1" dirty="0">
                          <a:latin typeface="Calibri"/>
                          <a:cs typeface="Calibri"/>
                        </a:rPr>
                        <a:t>Student</a:t>
                      </a:r>
                      <a:r>
                        <a:rPr sz="1400" b="1" spc="-50" dirty="0">
                          <a:latin typeface="Calibri"/>
                          <a:cs typeface="Calibri"/>
                        </a:rPr>
                        <a:t> </a:t>
                      </a:r>
                      <a:r>
                        <a:rPr sz="1400" b="1" spc="-10" dirty="0">
                          <a:latin typeface="Calibri"/>
                          <a:cs typeface="Calibri"/>
                        </a:rPr>
                        <a:t>Assistance</a:t>
                      </a:r>
                      <a:r>
                        <a:rPr sz="1400" b="1" spc="-60" dirty="0">
                          <a:latin typeface="Calibri"/>
                          <a:cs typeface="Calibri"/>
                        </a:rPr>
                        <a:t> </a:t>
                      </a:r>
                      <a:r>
                        <a:rPr sz="1400" b="1" dirty="0">
                          <a:latin typeface="Calibri"/>
                          <a:cs typeface="Calibri"/>
                        </a:rPr>
                        <a:t>Team, or</a:t>
                      </a:r>
                      <a:r>
                        <a:rPr sz="1400" b="1" spc="15" dirty="0">
                          <a:latin typeface="Calibri"/>
                          <a:cs typeface="Calibri"/>
                        </a:rPr>
                        <a:t> </a:t>
                      </a:r>
                      <a:r>
                        <a:rPr sz="1400" b="1" dirty="0">
                          <a:latin typeface="Calibri"/>
                          <a:cs typeface="Calibri"/>
                        </a:rPr>
                        <a:t>other</a:t>
                      </a:r>
                      <a:r>
                        <a:rPr sz="1400" b="1" spc="-20" dirty="0">
                          <a:latin typeface="Calibri"/>
                          <a:cs typeface="Calibri"/>
                        </a:rPr>
                        <a:t> </a:t>
                      </a:r>
                      <a:r>
                        <a:rPr sz="1400" b="1" spc="-10" dirty="0">
                          <a:latin typeface="Calibri"/>
                          <a:cs typeface="Calibri"/>
                        </a:rPr>
                        <a:t>related</a:t>
                      </a:r>
                      <a:endParaRPr sz="1400" dirty="0">
                        <a:latin typeface="Calibri"/>
                        <a:cs typeface="Calibri"/>
                      </a:endParaRPr>
                    </a:p>
                    <a:p>
                      <a:pPr marL="68580">
                        <a:lnSpc>
                          <a:spcPct val="100000"/>
                        </a:lnSpc>
                      </a:pPr>
                      <a:r>
                        <a:rPr sz="1400" b="1" dirty="0">
                          <a:latin typeface="Calibri"/>
                          <a:cs typeface="Calibri"/>
                        </a:rPr>
                        <a:t>support</a:t>
                      </a:r>
                      <a:r>
                        <a:rPr sz="1400" b="1" spc="-40" dirty="0">
                          <a:latin typeface="Calibri"/>
                          <a:cs typeface="Calibri"/>
                        </a:rPr>
                        <a:t> </a:t>
                      </a:r>
                      <a:r>
                        <a:rPr sz="1400" b="1" dirty="0">
                          <a:latin typeface="Calibri"/>
                          <a:cs typeface="Calibri"/>
                        </a:rPr>
                        <a:t>(struggling</a:t>
                      </a:r>
                      <a:r>
                        <a:rPr sz="1400" b="1" spc="-10" dirty="0">
                          <a:latin typeface="Calibri"/>
                          <a:cs typeface="Calibri"/>
                        </a:rPr>
                        <a:t> learners)</a:t>
                      </a:r>
                      <a:endParaRPr sz="1400" dirty="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D966"/>
                    </a:solidFill>
                  </a:tcPr>
                </a:tc>
                <a:extLst>
                  <a:ext uri="{0D108BD9-81ED-4DB2-BD59-A6C34878D82A}">
                    <a16:rowId xmlns:a16="http://schemas.microsoft.com/office/drawing/2014/main" val="10000"/>
                  </a:ext>
                </a:extLst>
              </a:tr>
              <a:tr h="2181316">
                <a:tc>
                  <a:txBody>
                    <a:bodyPr/>
                    <a:lstStyle/>
                    <a:p>
                      <a:pPr marL="551180" indent="-229870">
                        <a:lnSpc>
                          <a:spcPts val="1405"/>
                        </a:lnSpc>
                        <a:buClr>
                          <a:srgbClr val="000000"/>
                        </a:buClr>
                        <a:buFont typeface="Symbol"/>
                        <a:buChar char=""/>
                        <a:tabLst>
                          <a:tab pos="551180" algn="l"/>
                          <a:tab pos="551815" algn="l"/>
                        </a:tabLst>
                      </a:pPr>
                      <a:endParaRPr lang="en-US" sz="1400" u="none" dirty="0">
                        <a:solidFill>
                          <a:srgbClr val="0000FF"/>
                        </a:solidFill>
                        <a:uFill>
                          <a:solidFill>
                            <a:srgbClr val="0561C1"/>
                          </a:solidFill>
                        </a:uFill>
                        <a:latin typeface="Calibri"/>
                        <a:cs typeface="Calibri"/>
                      </a:endParaRPr>
                    </a:p>
                    <a:p>
                      <a:pPr marL="551180" indent="-229870">
                        <a:lnSpc>
                          <a:spcPts val="1405"/>
                        </a:lnSpc>
                        <a:buClr>
                          <a:srgbClr val="000000"/>
                        </a:buClr>
                        <a:buFont typeface="Symbol"/>
                        <a:buChar char=""/>
                        <a:tabLst>
                          <a:tab pos="551180" algn="l"/>
                          <a:tab pos="551815" algn="l"/>
                        </a:tabLst>
                      </a:pPr>
                      <a:r>
                        <a:rPr lang="en-US" sz="1400" u="none" dirty="0">
                          <a:solidFill>
                            <a:srgbClr val="0000FF"/>
                          </a:solidFill>
                          <a:uFill>
                            <a:solidFill>
                              <a:srgbClr val="0561C1"/>
                            </a:solidFill>
                          </a:uFill>
                          <a:latin typeface="Calibri"/>
                          <a:cs typeface="Calibri"/>
                        </a:rPr>
                        <a:t>Basic Transcribing</a:t>
                      </a:r>
                      <a:endParaRPr sz="1400" u="none" dirty="0">
                        <a:solidFill>
                          <a:srgbClr val="0000FF"/>
                        </a:solidFill>
                        <a:latin typeface="Calibri"/>
                        <a:cs typeface="Calibri"/>
                      </a:endParaRPr>
                    </a:p>
                    <a:p>
                      <a:pPr marL="551180" indent="-229870">
                        <a:lnSpc>
                          <a:spcPct val="100000"/>
                        </a:lnSpc>
                        <a:spcBef>
                          <a:spcPts val="190"/>
                        </a:spcBef>
                        <a:buClr>
                          <a:srgbClr val="000000"/>
                        </a:buClr>
                        <a:buFont typeface="Symbol"/>
                        <a:buChar char=""/>
                        <a:tabLst>
                          <a:tab pos="551180" algn="l"/>
                          <a:tab pos="551815" algn="l"/>
                        </a:tabLst>
                      </a:pPr>
                      <a:r>
                        <a:rPr sz="1400" u="none" spc="-10" dirty="0">
                          <a:solidFill>
                            <a:srgbClr val="0000FF"/>
                          </a:solidFill>
                          <a:uFill>
                            <a:solidFill>
                              <a:srgbClr val="0561C1"/>
                            </a:solidFill>
                          </a:uFill>
                          <a:latin typeface="Calibri"/>
                          <a:cs typeface="Calibri"/>
                        </a:rPr>
                        <a:t>Braille</a:t>
                      </a:r>
                      <a:endParaRPr sz="1400" u="none" dirty="0">
                        <a:solidFill>
                          <a:srgbClr val="0000FF"/>
                        </a:solidFill>
                        <a:latin typeface="Calibri"/>
                        <a:cs typeface="Calibri"/>
                      </a:endParaRPr>
                    </a:p>
                    <a:p>
                      <a:pPr marL="551180" indent="-229870">
                        <a:lnSpc>
                          <a:spcPct val="100000"/>
                        </a:lnSpc>
                        <a:spcBef>
                          <a:spcPts val="204"/>
                        </a:spcBef>
                        <a:buClr>
                          <a:srgbClr val="000000"/>
                        </a:buClr>
                        <a:buFont typeface="Symbol"/>
                        <a:buChar char=""/>
                        <a:tabLst>
                          <a:tab pos="551180" algn="l"/>
                          <a:tab pos="551815" algn="l"/>
                        </a:tabLst>
                      </a:pPr>
                      <a:r>
                        <a:rPr sz="1400" u="none" spc="-10" dirty="0">
                          <a:solidFill>
                            <a:srgbClr val="0000FF"/>
                          </a:solidFill>
                          <a:uFill>
                            <a:solidFill>
                              <a:srgbClr val="0561C1"/>
                            </a:solidFill>
                          </a:uFill>
                          <a:latin typeface="Calibri"/>
                          <a:cs typeface="Calibri"/>
                        </a:rPr>
                        <a:t>Individualized</a:t>
                      </a:r>
                      <a:r>
                        <a:rPr sz="1400" u="none" spc="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Structured</a:t>
                      </a:r>
                      <a:r>
                        <a:rPr sz="1400" u="none" spc="1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Reminders</a:t>
                      </a:r>
                      <a:endParaRPr sz="1400" u="none" dirty="0">
                        <a:latin typeface="Calibri"/>
                        <a:cs typeface="Calibri"/>
                      </a:endParaRPr>
                    </a:p>
                    <a:p>
                      <a:pPr marL="551180" indent="-229870">
                        <a:lnSpc>
                          <a:spcPct val="100000"/>
                        </a:lnSpc>
                        <a:spcBef>
                          <a:spcPts val="204"/>
                        </a:spcBef>
                        <a:buClr>
                          <a:srgbClr val="000000"/>
                        </a:buClr>
                        <a:buFont typeface="Symbol"/>
                        <a:buChar char=""/>
                        <a:tabLst>
                          <a:tab pos="551180" algn="l"/>
                          <a:tab pos="551815" algn="l"/>
                        </a:tabLst>
                      </a:pPr>
                      <a:r>
                        <a:rPr sz="1400" u="none" dirty="0">
                          <a:solidFill>
                            <a:srgbClr val="0000FF"/>
                          </a:solidFill>
                          <a:uFill>
                            <a:solidFill>
                              <a:srgbClr val="0561C1"/>
                            </a:solidFill>
                          </a:uFill>
                          <a:latin typeface="Calibri"/>
                          <a:cs typeface="Calibri"/>
                        </a:rPr>
                        <a:t>Manipulating</a:t>
                      </a:r>
                      <a:r>
                        <a:rPr sz="1400" u="none" spc="-80" dirty="0">
                          <a:solidFill>
                            <a:srgbClr val="0000FF"/>
                          </a:solidFill>
                          <a:uFill>
                            <a:solidFill>
                              <a:srgbClr val="0561C1"/>
                            </a:solidFill>
                          </a:uFill>
                          <a:latin typeface="Calibri"/>
                          <a:cs typeface="Calibri"/>
                        </a:rPr>
                        <a:t> </a:t>
                      </a:r>
                      <a:r>
                        <a:rPr sz="1400" u="none" dirty="0">
                          <a:solidFill>
                            <a:srgbClr val="0000FF"/>
                          </a:solidFill>
                          <a:uFill>
                            <a:solidFill>
                              <a:srgbClr val="0561C1"/>
                            </a:solidFill>
                          </a:uFill>
                          <a:latin typeface="Calibri"/>
                          <a:cs typeface="Calibri"/>
                        </a:rPr>
                        <a:t>Test</a:t>
                      </a:r>
                      <a:r>
                        <a:rPr sz="1400" u="none" spc="-5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Materials</a:t>
                      </a:r>
                      <a:endParaRPr sz="1400" u="none" dirty="0">
                        <a:latin typeface="Calibri"/>
                        <a:cs typeface="Calibri"/>
                      </a:endParaRPr>
                    </a:p>
                    <a:p>
                      <a:pPr marL="551180" indent="-229870">
                        <a:lnSpc>
                          <a:spcPct val="100000"/>
                        </a:lnSpc>
                        <a:spcBef>
                          <a:spcPts val="204"/>
                        </a:spcBef>
                        <a:buClr>
                          <a:srgbClr val="000000"/>
                        </a:buClr>
                        <a:buFont typeface="Symbol"/>
                        <a:buChar char=""/>
                        <a:tabLst>
                          <a:tab pos="551180" algn="l"/>
                          <a:tab pos="551815" algn="l"/>
                        </a:tabLst>
                      </a:pPr>
                      <a:r>
                        <a:rPr sz="1400" u="none" spc="-10" dirty="0">
                          <a:solidFill>
                            <a:srgbClr val="0000FF"/>
                          </a:solidFill>
                          <a:uFill>
                            <a:solidFill>
                              <a:srgbClr val="0561C1"/>
                            </a:solidFill>
                          </a:uFill>
                          <a:latin typeface="Calibri"/>
                          <a:cs typeface="Calibri"/>
                        </a:rPr>
                        <a:t>Mathematics</a:t>
                      </a:r>
                      <a:r>
                        <a:rPr sz="1400" u="none" spc="2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Manipulatives</a:t>
                      </a:r>
                      <a:endParaRPr sz="1400" u="none" dirty="0">
                        <a:latin typeface="Calibri"/>
                        <a:cs typeface="Calibri"/>
                      </a:endParaRPr>
                    </a:p>
                    <a:p>
                      <a:pPr marL="551180" indent="-229870">
                        <a:lnSpc>
                          <a:spcPct val="100000"/>
                        </a:lnSpc>
                        <a:spcBef>
                          <a:spcPts val="190"/>
                        </a:spcBef>
                        <a:buClr>
                          <a:srgbClr val="000000"/>
                        </a:buClr>
                        <a:buFont typeface="Symbol"/>
                        <a:buChar char=""/>
                        <a:tabLst>
                          <a:tab pos="551180" algn="l"/>
                          <a:tab pos="551815" algn="l"/>
                        </a:tabLst>
                      </a:pPr>
                      <a:r>
                        <a:rPr sz="1400" u="none" spc="-10" dirty="0">
                          <a:solidFill>
                            <a:srgbClr val="0000FF"/>
                          </a:solidFill>
                          <a:uFill>
                            <a:solidFill>
                              <a:srgbClr val="0561C1"/>
                            </a:solidFill>
                          </a:uFill>
                          <a:latin typeface="Calibri"/>
                          <a:cs typeface="Calibri"/>
                        </a:rPr>
                        <a:t>Oral/Signed</a:t>
                      </a:r>
                      <a:r>
                        <a:rPr sz="1400" u="none" spc="3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Administration</a:t>
                      </a:r>
                      <a:endParaRPr sz="1400" u="none" dirty="0">
                        <a:latin typeface="Calibri"/>
                        <a:cs typeface="Calibri"/>
                      </a:endParaRPr>
                    </a:p>
                    <a:p>
                      <a:pPr marL="551180" indent="-229870">
                        <a:lnSpc>
                          <a:spcPct val="100000"/>
                        </a:lnSpc>
                        <a:spcBef>
                          <a:spcPts val="204"/>
                        </a:spcBef>
                        <a:buClr>
                          <a:srgbClr val="000000"/>
                        </a:buClr>
                        <a:buFont typeface="Symbol"/>
                        <a:buChar char=""/>
                        <a:tabLst>
                          <a:tab pos="551180" algn="l"/>
                          <a:tab pos="551815" algn="l"/>
                        </a:tabLst>
                      </a:pPr>
                      <a:r>
                        <a:rPr sz="1400" u="none" dirty="0">
                          <a:solidFill>
                            <a:srgbClr val="0000FF"/>
                          </a:solidFill>
                          <a:uFill>
                            <a:solidFill>
                              <a:srgbClr val="0561C1"/>
                            </a:solidFill>
                          </a:uFill>
                          <a:latin typeface="Calibri"/>
                          <a:cs typeface="Calibri"/>
                        </a:rPr>
                        <a:t>Supplemental</a:t>
                      </a:r>
                      <a:r>
                        <a:rPr sz="1400" u="none" spc="-90" dirty="0">
                          <a:solidFill>
                            <a:srgbClr val="0000FF"/>
                          </a:solidFill>
                          <a:uFill>
                            <a:solidFill>
                              <a:srgbClr val="0561C1"/>
                            </a:solidFill>
                          </a:uFill>
                          <a:latin typeface="Calibri"/>
                          <a:cs typeface="Calibri"/>
                        </a:rPr>
                        <a:t> </a:t>
                      </a:r>
                      <a:r>
                        <a:rPr sz="1400" u="none" spc="-20" dirty="0">
                          <a:solidFill>
                            <a:srgbClr val="0000FF"/>
                          </a:solidFill>
                          <a:uFill>
                            <a:solidFill>
                              <a:srgbClr val="0561C1"/>
                            </a:solidFill>
                          </a:uFill>
                          <a:latin typeface="Calibri"/>
                          <a:cs typeface="Calibri"/>
                        </a:rPr>
                        <a:t>Aids</a:t>
                      </a:r>
                      <a:endParaRPr sz="1400" u="none" dirty="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C000">
                        <a:alpha val="25097"/>
                      </a:srgbClr>
                    </a:solidFill>
                  </a:tcPr>
                </a:tc>
                <a:extLst>
                  <a:ext uri="{0D108BD9-81ED-4DB2-BD59-A6C34878D82A}">
                    <a16:rowId xmlns:a16="http://schemas.microsoft.com/office/drawing/2014/main" val="10001"/>
                  </a:ext>
                </a:extLst>
              </a:tr>
            </a:tbl>
          </a:graphicData>
        </a:graphic>
      </p:graphicFrame>
      <p:graphicFrame>
        <p:nvGraphicFramePr>
          <p:cNvPr id="7" name="object 20">
            <a:extLst>
              <a:ext uri="{FF2B5EF4-FFF2-40B4-BE49-F238E27FC236}">
                <a16:creationId xmlns:a16="http://schemas.microsoft.com/office/drawing/2014/main" id="{F38DE744-B4BA-B66C-945C-9149CAC49CE9}"/>
              </a:ext>
            </a:extLst>
          </p:cNvPr>
          <p:cNvGraphicFramePr>
            <a:graphicFrameLocks noGrp="1"/>
          </p:cNvGraphicFramePr>
          <p:nvPr/>
        </p:nvGraphicFramePr>
        <p:xfrm>
          <a:off x="255758" y="2941041"/>
          <a:ext cx="4389455" cy="3004760"/>
        </p:xfrm>
        <a:graphic>
          <a:graphicData uri="http://schemas.openxmlformats.org/drawingml/2006/table">
            <a:tbl>
              <a:tblPr firstRow="1" bandRow="1">
                <a:tableStyleId>{2D5ABB26-0587-4C30-8999-92F81FD0307C}</a:tableStyleId>
              </a:tblPr>
              <a:tblGrid>
                <a:gridCol w="4389455">
                  <a:extLst>
                    <a:ext uri="{9D8B030D-6E8A-4147-A177-3AD203B41FA5}">
                      <a16:colId xmlns:a16="http://schemas.microsoft.com/office/drawing/2014/main" val="20000"/>
                    </a:ext>
                  </a:extLst>
                </a:gridCol>
              </a:tblGrid>
              <a:tr h="415784">
                <a:tc>
                  <a:txBody>
                    <a:bodyPr/>
                    <a:lstStyle/>
                    <a:p>
                      <a:pPr marL="68580">
                        <a:lnSpc>
                          <a:spcPts val="1225"/>
                        </a:lnSpc>
                      </a:pPr>
                      <a:endParaRPr lang="en-US" sz="1400" b="1" dirty="0">
                        <a:latin typeface="Calibri"/>
                        <a:cs typeface="Calibri"/>
                      </a:endParaRPr>
                    </a:p>
                    <a:p>
                      <a:pPr marL="68580">
                        <a:lnSpc>
                          <a:spcPts val="1225"/>
                        </a:lnSpc>
                      </a:pPr>
                      <a:r>
                        <a:rPr sz="1400" b="1" dirty="0">
                          <a:latin typeface="Calibri"/>
                          <a:cs typeface="Calibri"/>
                        </a:rPr>
                        <a:t>Admission,</a:t>
                      </a:r>
                      <a:r>
                        <a:rPr sz="1400" b="1" spc="-55" dirty="0">
                          <a:latin typeface="Calibri"/>
                          <a:cs typeface="Calibri"/>
                        </a:rPr>
                        <a:t> </a:t>
                      </a:r>
                      <a:r>
                        <a:rPr sz="1400" b="1" dirty="0">
                          <a:latin typeface="Calibri"/>
                          <a:cs typeface="Calibri"/>
                        </a:rPr>
                        <a:t>Review,</a:t>
                      </a:r>
                      <a:r>
                        <a:rPr sz="1400" b="1" spc="-40" dirty="0">
                          <a:latin typeface="Calibri"/>
                          <a:cs typeface="Calibri"/>
                        </a:rPr>
                        <a:t> </a:t>
                      </a:r>
                      <a:r>
                        <a:rPr sz="1400" b="1" dirty="0">
                          <a:latin typeface="Calibri"/>
                          <a:cs typeface="Calibri"/>
                        </a:rPr>
                        <a:t>and</a:t>
                      </a:r>
                      <a:r>
                        <a:rPr sz="1400" b="1" spc="-30" dirty="0">
                          <a:latin typeface="Calibri"/>
                          <a:cs typeface="Calibri"/>
                        </a:rPr>
                        <a:t> </a:t>
                      </a:r>
                      <a:r>
                        <a:rPr sz="1400" b="1" dirty="0">
                          <a:latin typeface="Calibri"/>
                          <a:cs typeface="Calibri"/>
                        </a:rPr>
                        <a:t>Dismissal</a:t>
                      </a:r>
                      <a:r>
                        <a:rPr sz="1400" b="1" spc="-60" dirty="0">
                          <a:latin typeface="Calibri"/>
                          <a:cs typeface="Calibri"/>
                        </a:rPr>
                        <a:t> </a:t>
                      </a:r>
                      <a:r>
                        <a:rPr sz="1400" b="1" spc="-20" dirty="0">
                          <a:latin typeface="Calibri"/>
                          <a:cs typeface="Calibri"/>
                        </a:rPr>
                        <a:t>(ARD)</a:t>
                      </a:r>
                      <a:endParaRPr sz="1400" dirty="0">
                        <a:latin typeface="Calibri"/>
                        <a:cs typeface="Calibri"/>
                      </a:endParaRPr>
                    </a:p>
                    <a:p>
                      <a:pPr marL="68580">
                        <a:lnSpc>
                          <a:spcPts val="1415"/>
                        </a:lnSpc>
                      </a:pPr>
                      <a:r>
                        <a:rPr sz="1400" b="1" dirty="0">
                          <a:latin typeface="Calibri"/>
                          <a:cs typeface="Calibri"/>
                        </a:rPr>
                        <a:t>Committee</a:t>
                      </a:r>
                      <a:r>
                        <a:rPr sz="1400" b="1" spc="-55" dirty="0">
                          <a:latin typeface="Calibri"/>
                          <a:cs typeface="Calibri"/>
                        </a:rPr>
                        <a:t> </a:t>
                      </a:r>
                      <a:r>
                        <a:rPr sz="1400" b="1" dirty="0">
                          <a:latin typeface="Calibri"/>
                          <a:cs typeface="Calibri"/>
                        </a:rPr>
                        <a:t>(special</a:t>
                      </a:r>
                      <a:r>
                        <a:rPr sz="1400" b="1" spc="-50" dirty="0">
                          <a:latin typeface="Calibri"/>
                          <a:cs typeface="Calibri"/>
                        </a:rPr>
                        <a:t> </a:t>
                      </a:r>
                      <a:r>
                        <a:rPr sz="1400" b="1" dirty="0">
                          <a:latin typeface="Calibri"/>
                          <a:cs typeface="Calibri"/>
                        </a:rPr>
                        <a:t>education</a:t>
                      </a:r>
                      <a:r>
                        <a:rPr sz="1400" b="1" spc="-25" dirty="0">
                          <a:latin typeface="Calibri"/>
                          <a:cs typeface="Calibri"/>
                        </a:rPr>
                        <a:t> </a:t>
                      </a:r>
                      <a:r>
                        <a:rPr sz="1400" b="1" spc="-10" dirty="0">
                          <a:latin typeface="Calibri"/>
                          <a:cs typeface="Calibri"/>
                        </a:rPr>
                        <a:t>students)</a:t>
                      </a:r>
                      <a:endParaRPr sz="1400" dirty="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6EAC46"/>
                    </a:solidFill>
                  </a:tcPr>
                </a:tc>
                <a:extLst>
                  <a:ext uri="{0D108BD9-81ED-4DB2-BD59-A6C34878D82A}">
                    <a16:rowId xmlns:a16="http://schemas.microsoft.com/office/drawing/2014/main" val="10000"/>
                  </a:ext>
                </a:extLst>
              </a:tr>
              <a:tr h="2519683">
                <a:tc>
                  <a:txBody>
                    <a:bodyPr/>
                    <a:lstStyle/>
                    <a:p>
                      <a:pPr marL="525780" indent="-228600">
                        <a:lnSpc>
                          <a:spcPts val="1390"/>
                        </a:lnSpc>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Basic</a:t>
                      </a:r>
                      <a:r>
                        <a:rPr sz="1400" u="none" spc="-6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Transcribing</a:t>
                      </a:r>
                      <a:endParaRPr sz="1400" u="none" dirty="0">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Braille</a:t>
                      </a:r>
                      <a:endParaRPr sz="1400" u="none" dirty="0">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Calculation</a:t>
                      </a:r>
                      <a:r>
                        <a:rPr sz="1400" u="none" spc="-75" dirty="0">
                          <a:solidFill>
                            <a:srgbClr val="0000FF"/>
                          </a:solidFill>
                          <a:uFill>
                            <a:solidFill>
                              <a:srgbClr val="0561C1"/>
                            </a:solidFill>
                          </a:uFill>
                          <a:latin typeface="Calibri"/>
                          <a:cs typeface="Calibri"/>
                        </a:rPr>
                        <a:t> </a:t>
                      </a:r>
                      <a:r>
                        <a:rPr sz="1400" u="none" spc="-20" dirty="0">
                          <a:solidFill>
                            <a:srgbClr val="0000FF"/>
                          </a:solidFill>
                          <a:uFill>
                            <a:solidFill>
                              <a:srgbClr val="0561C1"/>
                            </a:solidFill>
                          </a:uFill>
                          <a:latin typeface="Calibri"/>
                          <a:cs typeface="Calibri"/>
                        </a:rPr>
                        <a:t>Aids</a:t>
                      </a:r>
                      <a:endParaRPr sz="1400" u="none" dirty="0">
                        <a:latin typeface="Calibri"/>
                        <a:cs typeface="Calibri"/>
                      </a:endParaRPr>
                    </a:p>
                    <a:p>
                      <a:pPr marL="525780" indent="-228600">
                        <a:lnSpc>
                          <a:spcPct val="100000"/>
                        </a:lnSpc>
                        <a:spcBef>
                          <a:spcPts val="110"/>
                        </a:spcBef>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Content</a:t>
                      </a:r>
                      <a:r>
                        <a:rPr sz="1400" u="none" spc="-25" dirty="0">
                          <a:solidFill>
                            <a:srgbClr val="0000FF"/>
                          </a:solidFill>
                          <a:uFill>
                            <a:solidFill>
                              <a:srgbClr val="0561C1"/>
                            </a:solidFill>
                          </a:uFill>
                          <a:latin typeface="Calibri"/>
                          <a:cs typeface="Calibri"/>
                        </a:rPr>
                        <a:t> </a:t>
                      </a:r>
                      <a:r>
                        <a:rPr sz="1400" u="none" dirty="0">
                          <a:solidFill>
                            <a:srgbClr val="0000FF"/>
                          </a:solidFill>
                          <a:uFill>
                            <a:solidFill>
                              <a:srgbClr val="0561C1"/>
                            </a:solidFill>
                          </a:uFill>
                          <a:latin typeface="Calibri"/>
                          <a:cs typeface="Calibri"/>
                        </a:rPr>
                        <a:t>and</a:t>
                      </a:r>
                      <a:r>
                        <a:rPr sz="1400" u="none" spc="2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Language</a:t>
                      </a:r>
                      <a:r>
                        <a:rPr sz="1400" u="none" spc="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Supports</a:t>
                      </a:r>
                      <a:endParaRPr sz="1400" u="none" dirty="0">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Individualized</a:t>
                      </a:r>
                      <a:r>
                        <a:rPr sz="1400" u="none" spc="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Structured</a:t>
                      </a:r>
                      <a:r>
                        <a:rPr sz="1400" u="none" spc="1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Reminders</a:t>
                      </a:r>
                      <a:endParaRPr sz="1400" u="none" dirty="0">
                        <a:latin typeface="Calibri"/>
                        <a:cs typeface="Calibri"/>
                      </a:endParaRPr>
                    </a:p>
                    <a:p>
                      <a:pPr marL="525780" indent="-228600">
                        <a:lnSpc>
                          <a:spcPct val="100000"/>
                        </a:lnSpc>
                        <a:spcBef>
                          <a:spcPts val="110"/>
                        </a:spcBef>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Large</a:t>
                      </a:r>
                      <a:r>
                        <a:rPr sz="1400" u="none" spc="-7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Print</a:t>
                      </a:r>
                      <a:endParaRPr sz="1400" u="none" dirty="0">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Manipulating</a:t>
                      </a:r>
                      <a:r>
                        <a:rPr sz="1400" u="none" spc="-80" dirty="0">
                          <a:solidFill>
                            <a:srgbClr val="0000FF"/>
                          </a:solidFill>
                          <a:uFill>
                            <a:solidFill>
                              <a:srgbClr val="0561C1"/>
                            </a:solidFill>
                          </a:uFill>
                          <a:latin typeface="Calibri"/>
                          <a:cs typeface="Calibri"/>
                        </a:rPr>
                        <a:t> </a:t>
                      </a:r>
                      <a:r>
                        <a:rPr sz="1400" u="none" dirty="0">
                          <a:solidFill>
                            <a:srgbClr val="0000FF"/>
                          </a:solidFill>
                          <a:uFill>
                            <a:solidFill>
                              <a:srgbClr val="0561C1"/>
                            </a:solidFill>
                          </a:uFill>
                          <a:latin typeface="Calibri"/>
                          <a:cs typeface="Calibri"/>
                        </a:rPr>
                        <a:t>Test</a:t>
                      </a:r>
                      <a:r>
                        <a:rPr sz="1400" u="none" spc="-5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Materials</a:t>
                      </a:r>
                      <a:endParaRPr sz="1400" u="none" dirty="0">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Mathematics</a:t>
                      </a:r>
                      <a:r>
                        <a:rPr sz="1400" u="none" spc="2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Manipulatives</a:t>
                      </a:r>
                      <a:endParaRPr sz="1400" u="none" dirty="0">
                        <a:latin typeface="Calibri"/>
                        <a:cs typeface="Calibri"/>
                      </a:endParaRPr>
                    </a:p>
                    <a:p>
                      <a:pPr marL="525780" indent="-228600">
                        <a:lnSpc>
                          <a:spcPct val="100000"/>
                        </a:lnSpc>
                        <a:spcBef>
                          <a:spcPts val="110"/>
                        </a:spcBef>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Oral/Signed</a:t>
                      </a:r>
                      <a:r>
                        <a:rPr sz="1400" u="none" spc="3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Administration</a:t>
                      </a:r>
                      <a:endParaRPr sz="1400" u="none" dirty="0">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Spelling</a:t>
                      </a:r>
                      <a:r>
                        <a:rPr sz="1400" u="none" spc="-1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Assistance</a:t>
                      </a:r>
                      <a:endParaRPr sz="1400" u="none" dirty="0">
                        <a:latin typeface="Calibri"/>
                        <a:cs typeface="Calibri"/>
                      </a:endParaRPr>
                    </a:p>
                    <a:p>
                      <a:pPr marL="525780" indent="-228600">
                        <a:lnSpc>
                          <a:spcPct val="100000"/>
                        </a:lnSpc>
                        <a:buClr>
                          <a:srgbClr val="000000"/>
                        </a:buClr>
                        <a:buSzPct val="91666"/>
                        <a:buFont typeface="Symbol"/>
                        <a:buChar char=""/>
                        <a:tabLst>
                          <a:tab pos="525145" algn="l"/>
                          <a:tab pos="525780" algn="l"/>
                        </a:tabLst>
                      </a:pPr>
                      <a:r>
                        <a:rPr sz="1400" u="none" dirty="0">
                          <a:solidFill>
                            <a:srgbClr val="0000FF"/>
                          </a:solidFill>
                          <a:uFill>
                            <a:solidFill>
                              <a:srgbClr val="0561C1"/>
                            </a:solidFill>
                          </a:uFill>
                          <a:latin typeface="Calibri"/>
                          <a:cs typeface="Calibri"/>
                        </a:rPr>
                        <a:t>Supplemental</a:t>
                      </a:r>
                      <a:r>
                        <a:rPr sz="1400" u="none" spc="-45" dirty="0">
                          <a:solidFill>
                            <a:srgbClr val="0000FF"/>
                          </a:solidFill>
                          <a:uFill>
                            <a:solidFill>
                              <a:srgbClr val="0561C1"/>
                            </a:solidFill>
                          </a:uFill>
                          <a:latin typeface="Calibri"/>
                          <a:cs typeface="Calibri"/>
                        </a:rPr>
                        <a:t> </a:t>
                      </a:r>
                      <a:r>
                        <a:rPr sz="1400" u="none" spc="-20" dirty="0">
                          <a:solidFill>
                            <a:srgbClr val="0000FF"/>
                          </a:solidFill>
                          <a:uFill>
                            <a:solidFill>
                              <a:srgbClr val="0561C1"/>
                            </a:solidFill>
                          </a:uFill>
                          <a:latin typeface="Calibri"/>
                          <a:cs typeface="Calibri"/>
                        </a:rPr>
                        <a:t>Aids</a:t>
                      </a:r>
                      <a:endParaRPr sz="1400" u="none" dirty="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6EAC46">
                        <a:alpha val="25097"/>
                      </a:srgbClr>
                    </a:solidFill>
                  </a:tcPr>
                </a:tc>
                <a:extLst>
                  <a:ext uri="{0D108BD9-81ED-4DB2-BD59-A6C34878D82A}">
                    <a16:rowId xmlns:a16="http://schemas.microsoft.com/office/drawing/2014/main" val="10001"/>
                  </a:ext>
                </a:extLst>
              </a:tr>
            </a:tbl>
          </a:graphicData>
        </a:graphic>
      </p:graphicFrame>
      <p:graphicFrame>
        <p:nvGraphicFramePr>
          <p:cNvPr id="8" name="object 18">
            <a:extLst>
              <a:ext uri="{FF2B5EF4-FFF2-40B4-BE49-F238E27FC236}">
                <a16:creationId xmlns:a16="http://schemas.microsoft.com/office/drawing/2014/main" id="{058C953C-A59A-EB80-29B0-573692481837}"/>
              </a:ext>
            </a:extLst>
          </p:cNvPr>
          <p:cNvGraphicFramePr>
            <a:graphicFrameLocks noGrp="1"/>
          </p:cNvGraphicFramePr>
          <p:nvPr/>
        </p:nvGraphicFramePr>
        <p:xfrm>
          <a:off x="7915911" y="265412"/>
          <a:ext cx="3883025" cy="3189166"/>
        </p:xfrm>
        <a:graphic>
          <a:graphicData uri="http://schemas.openxmlformats.org/drawingml/2006/table">
            <a:tbl>
              <a:tblPr firstRow="1" bandRow="1">
                <a:tableStyleId>{2D5ABB26-0587-4C30-8999-92F81FD0307C}</a:tableStyleId>
              </a:tblPr>
              <a:tblGrid>
                <a:gridCol w="3883025">
                  <a:extLst>
                    <a:ext uri="{9D8B030D-6E8A-4147-A177-3AD203B41FA5}">
                      <a16:colId xmlns:a16="http://schemas.microsoft.com/office/drawing/2014/main" val="20000"/>
                    </a:ext>
                  </a:extLst>
                </a:gridCol>
              </a:tblGrid>
              <a:tr h="475993">
                <a:tc>
                  <a:txBody>
                    <a:bodyPr/>
                    <a:lstStyle/>
                    <a:p>
                      <a:pPr marL="67945">
                        <a:lnSpc>
                          <a:spcPts val="1150"/>
                        </a:lnSpc>
                      </a:pPr>
                      <a:endParaRPr lang="en-US" sz="1400" b="1" dirty="0">
                        <a:latin typeface="Calibri"/>
                        <a:cs typeface="Calibri"/>
                      </a:endParaRPr>
                    </a:p>
                    <a:p>
                      <a:pPr marL="67945">
                        <a:lnSpc>
                          <a:spcPts val="1150"/>
                        </a:lnSpc>
                      </a:pPr>
                      <a:r>
                        <a:rPr sz="1400" b="1" dirty="0">
                          <a:latin typeface="Calibri"/>
                          <a:cs typeface="Calibri"/>
                        </a:rPr>
                        <a:t>Section</a:t>
                      </a:r>
                      <a:r>
                        <a:rPr sz="1400" b="1" spc="-50" dirty="0">
                          <a:latin typeface="Calibri"/>
                          <a:cs typeface="Calibri"/>
                        </a:rPr>
                        <a:t> </a:t>
                      </a:r>
                      <a:r>
                        <a:rPr sz="1400" b="1" dirty="0">
                          <a:latin typeface="Calibri"/>
                          <a:cs typeface="Calibri"/>
                        </a:rPr>
                        <a:t>504</a:t>
                      </a:r>
                      <a:r>
                        <a:rPr sz="1400" b="1" spc="10" dirty="0">
                          <a:latin typeface="Calibri"/>
                          <a:cs typeface="Calibri"/>
                        </a:rPr>
                        <a:t> </a:t>
                      </a:r>
                      <a:r>
                        <a:rPr sz="1400" b="1" spc="-10" dirty="0">
                          <a:latin typeface="Calibri"/>
                          <a:cs typeface="Calibri"/>
                        </a:rPr>
                        <a:t>Committee</a:t>
                      </a:r>
                      <a:r>
                        <a:rPr sz="1400" b="1" spc="-40" dirty="0">
                          <a:latin typeface="Calibri"/>
                          <a:cs typeface="Calibri"/>
                        </a:rPr>
                        <a:t> </a:t>
                      </a:r>
                      <a:r>
                        <a:rPr sz="1400" b="1" dirty="0">
                          <a:latin typeface="Calibri"/>
                          <a:cs typeface="Calibri"/>
                        </a:rPr>
                        <a:t>(students</a:t>
                      </a:r>
                      <a:r>
                        <a:rPr sz="1400" b="1" spc="-35" dirty="0">
                          <a:latin typeface="Calibri"/>
                          <a:cs typeface="Calibri"/>
                        </a:rPr>
                        <a:t> </a:t>
                      </a:r>
                      <a:r>
                        <a:rPr sz="1400" b="1" dirty="0">
                          <a:latin typeface="Calibri"/>
                          <a:cs typeface="Calibri"/>
                        </a:rPr>
                        <a:t>with</a:t>
                      </a:r>
                      <a:r>
                        <a:rPr sz="1400" b="1" spc="10" dirty="0">
                          <a:latin typeface="Calibri"/>
                          <a:cs typeface="Calibri"/>
                        </a:rPr>
                        <a:t> </a:t>
                      </a:r>
                      <a:r>
                        <a:rPr sz="1400" b="1" spc="-20" dirty="0">
                          <a:latin typeface="Calibri"/>
                          <a:cs typeface="Calibri"/>
                        </a:rPr>
                        <a:t>other</a:t>
                      </a:r>
                      <a:endParaRPr sz="1400" dirty="0">
                        <a:latin typeface="Calibri"/>
                        <a:cs typeface="Calibri"/>
                      </a:endParaRPr>
                    </a:p>
                    <a:p>
                      <a:pPr marL="67945">
                        <a:lnSpc>
                          <a:spcPts val="1370"/>
                        </a:lnSpc>
                      </a:pPr>
                      <a:r>
                        <a:rPr sz="1400" b="1" dirty="0">
                          <a:latin typeface="Calibri"/>
                          <a:cs typeface="Calibri"/>
                        </a:rPr>
                        <a:t>health</a:t>
                      </a:r>
                      <a:r>
                        <a:rPr sz="1400" b="1" spc="5" dirty="0">
                          <a:latin typeface="Calibri"/>
                          <a:cs typeface="Calibri"/>
                        </a:rPr>
                        <a:t> </a:t>
                      </a:r>
                      <a:r>
                        <a:rPr sz="1400" b="1" spc="-10" dirty="0">
                          <a:latin typeface="Calibri"/>
                          <a:cs typeface="Calibri"/>
                        </a:rPr>
                        <a:t>impairments,</a:t>
                      </a:r>
                      <a:r>
                        <a:rPr sz="1400" b="1" dirty="0">
                          <a:latin typeface="Calibri"/>
                          <a:cs typeface="Calibri"/>
                        </a:rPr>
                        <a:t> </a:t>
                      </a:r>
                      <a:r>
                        <a:rPr sz="1400" b="1" spc="-10" dirty="0">
                          <a:latin typeface="Calibri"/>
                          <a:cs typeface="Calibri"/>
                        </a:rPr>
                        <a:t>dyslexia)</a:t>
                      </a:r>
                      <a:endParaRPr sz="1400" dirty="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4AE83"/>
                    </a:solidFill>
                  </a:tcPr>
                </a:tc>
                <a:extLst>
                  <a:ext uri="{0D108BD9-81ED-4DB2-BD59-A6C34878D82A}">
                    <a16:rowId xmlns:a16="http://schemas.microsoft.com/office/drawing/2014/main" val="10000"/>
                  </a:ext>
                </a:extLst>
              </a:tr>
              <a:tr h="2704089">
                <a:tc>
                  <a:txBody>
                    <a:bodyPr/>
                    <a:lstStyle/>
                    <a:p>
                      <a:pPr marL="525780" indent="-229870">
                        <a:lnSpc>
                          <a:spcPts val="1395"/>
                        </a:lnSpc>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Basic</a:t>
                      </a:r>
                      <a:r>
                        <a:rPr sz="1400" u="none" spc="-6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Transcribing</a:t>
                      </a:r>
                      <a:endParaRPr sz="1400" u="none" dirty="0">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Braille</a:t>
                      </a:r>
                      <a:endParaRPr sz="1400" u="none" dirty="0">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Calculation</a:t>
                      </a:r>
                      <a:r>
                        <a:rPr sz="1400" u="none" spc="-75" dirty="0">
                          <a:solidFill>
                            <a:srgbClr val="0000FF"/>
                          </a:solidFill>
                          <a:uFill>
                            <a:solidFill>
                              <a:srgbClr val="0561C1"/>
                            </a:solidFill>
                          </a:uFill>
                          <a:latin typeface="Calibri"/>
                          <a:cs typeface="Calibri"/>
                        </a:rPr>
                        <a:t> </a:t>
                      </a:r>
                      <a:r>
                        <a:rPr sz="1400" u="none" spc="-20" dirty="0">
                          <a:solidFill>
                            <a:srgbClr val="0000FF"/>
                          </a:solidFill>
                          <a:uFill>
                            <a:solidFill>
                              <a:srgbClr val="0561C1"/>
                            </a:solidFill>
                          </a:uFill>
                          <a:latin typeface="Calibri"/>
                          <a:cs typeface="Calibri"/>
                        </a:rPr>
                        <a:t>Aids</a:t>
                      </a:r>
                      <a:endParaRPr sz="1400" u="none" dirty="0">
                        <a:latin typeface="Calibri"/>
                        <a:cs typeface="Calibri"/>
                      </a:endParaRPr>
                    </a:p>
                    <a:p>
                      <a:pPr marL="525780" indent="-229870">
                        <a:lnSpc>
                          <a:spcPct val="100000"/>
                        </a:lnSpc>
                        <a:spcBef>
                          <a:spcPts val="110"/>
                        </a:spcBef>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Content</a:t>
                      </a:r>
                      <a:r>
                        <a:rPr sz="1400" u="none" spc="-25" dirty="0">
                          <a:solidFill>
                            <a:srgbClr val="0000FF"/>
                          </a:solidFill>
                          <a:uFill>
                            <a:solidFill>
                              <a:srgbClr val="0561C1"/>
                            </a:solidFill>
                          </a:uFill>
                          <a:latin typeface="Calibri"/>
                          <a:cs typeface="Calibri"/>
                        </a:rPr>
                        <a:t> </a:t>
                      </a:r>
                      <a:r>
                        <a:rPr sz="1400" u="none" dirty="0">
                          <a:solidFill>
                            <a:srgbClr val="0000FF"/>
                          </a:solidFill>
                          <a:uFill>
                            <a:solidFill>
                              <a:srgbClr val="0561C1"/>
                            </a:solidFill>
                          </a:uFill>
                          <a:latin typeface="Calibri"/>
                          <a:cs typeface="Calibri"/>
                        </a:rPr>
                        <a:t>and</a:t>
                      </a:r>
                      <a:r>
                        <a:rPr sz="1400" u="none" spc="2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Language</a:t>
                      </a:r>
                      <a:r>
                        <a:rPr sz="1400" u="none" spc="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Supports</a:t>
                      </a:r>
                      <a:endParaRPr sz="1400" u="none" dirty="0">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Individualized</a:t>
                      </a:r>
                      <a:r>
                        <a:rPr sz="1400" u="none" spc="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Structured</a:t>
                      </a:r>
                      <a:r>
                        <a:rPr sz="1400" u="none" spc="1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Reminders</a:t>
                      </a:r>
                      <a:endParaRPr sz="1400" u="none" dirty="0">
                        <a:latin typeface="Calibri"/>
                        <a:cs typeface="Calibri"/>
                      </a:endParaRPr>
                    </a:p>
                    <a:p>
                      <a:pPr marL="525780" indent="-229870">
                        <a:lnSpc>
                          <a:spcPct val="100000"/>
                        </a:lnSpc>
                        <a:spcBef>
                          <a:spcPts val="110"/>
                        </a:spcBef>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Large</a:t>
                      </a:r>
                      <a:r>
                        <a:rPr sz="1400" u="none" spc="-7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Print</a:t>
                      </a:r>
                      <a:endParaRPr sz="1400" u="none" dirty="0">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Manipulating</a:t>
                      </a:r>
                      <a:r>
                        <a:rPr sz="1400" u="none" spc="-80" dirty="0">
                          <a:solidFill>
                            <a:srgbClr val="0000FF"/>
                          </a:solidFill>
                          <a:uFill>
                            <a:solidFill>
                              <a:srgbClr val="0561C1"/>
                            </a:solidFill>
                          </a:uFill>
                          <a:latin typeface="Calibri"/>
                          <a:cs typeface="Calibri"/>
                        </a:rPr>
                        <a:t> </a:t>
                      </a:r>
                      <a:r>
                        <a:rPr sz="1400" u="none" dirty="0">
                          <a:solidFill>
                            <a:srgbClr val="0000FF"/>
                          </a:solidFill>
                          <a:uFill>
                            <a:solidFill>
                              <a:srgbClr val="0561C1"/>
                            </a:solidFill>
                          </a:uFill>
                          <a:latin typeface="Calibri"/>
                          <a:cs typeface="Calibri"/>
                        </a:rPr>
                        <a:t>Test</a:t>
                      </a:r>
                      <a:r>
                        <a:rPr sz="1400" u="none" spc="-5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Materials</a:t>
                      </a:r>
                      <a:endParaRPr sz="1400" u="none" dirty="0">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Mathematics</a:t>
                      </a:r>
                      <a:r>
                        <a:rPr sz="1400" u="none" spc="2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Manipulatives</a:t>
                      </a:r>
                      <a:endParaRPr sz="1400" u="none" dirty="0">
                        <a:latin typeface="Calibri"/>
                        <a:cs typeface="Calibri"/>
                      </a:endParaRPr>
                    </a:p>
                    <a:p>
                      <a:pPr marL="525780" indent="-229870">
                        <a:lnSpc>
                          <a:spcPct val="100000"/>
                        </a:lnSpc>
                        <a:spcBef>
                          <a:spcPts val="110"/>
                        </a:spcBef>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Oral/Signed</a:t>
                      </a:r>
                      <a:r>
                        <a:rPr sz="1400" u="none" spc="3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Administration</a:t>
                      </a:r>
                      <a:endParaRPr sz="1400" u="none" dirty="0">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Spelling</a:t>
                      </a:r>
                      <a:r>
                        <a:rPr sz="1400" u="none" spc="-1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Assistance</a:t>
                      </a:r>
                      <a:endParaRPr sz="1400" u="none" dirty="0">
                        <a:latin typeface="Calibri"/>
                        <a:cs typeface="Calibri"/>
                      </a:endParaRPr>
                    </a:p>
                    <a:p>
                      <a:pPr marL="525780" indent="-229870">
                        <a:lnSpc>
                          <a:spcPts val="1420"/>
                        </a:lnSpc>
                        <a:spcBef>
                          <a:spcPts val="95"/>
                        </a:spcBef>
                        <a:buClr>
                          <a:srgbClr val="000000"/>
                        </a:buClr>
                        <a:buFont typeface="Symbol"/>
                        <a:buChar char=""/>
                        <a:tabLst>
                          <a:tab pos="525145" algn="l"/>
                          <a:tab pos="525780" algn="l"/>
                        </a:tabLst>
                      </a:pPr>
                      <a:r>
                        <a:rPr sz="1400" u="none" dirty="0">
                          <a:solidFill>
                            <a:srgbClr val="0000FF"/>
                          </a:solidFill>
                          <a:uFill>
                            <a:solidFill>
                              <a:srgbClr val="0561C1"/>
                            </a:solidFill>
                          </a:uFill>
                          <a:latin typeface="Calibri"/>
                          <a:cs typeface="Calibri"/>
                        </a:rPr>
                        <a:t>Supplemental</a:t>
                      </a:r>
                      <a:r>
                        <a:rPr sz="1400" u="none" spc="-45" dirty="0">
                          <a:solidFill>
                            <a:srgbClr val="0000FF"/>
                          </a:solidFill>
                          <a:uFill>
                            <a:solidFill>
                              <a:srgbClr val="0561C1"/>
                            </a:solidFill>
                          </a:uFill>
                          <a:latin typeface="Calibri"/>
                          <a:cs typeface="Calibri"/>
                        </a:rPr>
                        <a:t> </a:t>
                      </a:r>
                      <a:r>
                        <a:rPr sz="1400" u="none" spc="-20" dirty="0">
                          <a:solidFill>
                            <a:srgbClr val="0000FF"/>
                          </a:solidFill>
                          <a:uFill>
                            <a:solidFill>
                              <a:srgbClr val="0561C1"/>
                            </a:solidFill>
                          </a:uFill>
                          <a:latin typeface="Calibri"/>
                          <a:cs typeface="Calibri"/>
                        </a:rPr>
                        <a:t>Aids</a:t>
                      </a:r>
                      <a:endParaRPr sz="1400" u="none" dirty="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CEADA">
                        <a:alpha val="63920"/>
                      </a:srgbClr>
                    </a:solidFill>
                  </a:tcPr>
                </a:tc>
                <a:extLst>
                  <a:ext uri="{0D108BD9-81ED-4DB2-BD59-A6C34878D82A}">
                    <a16:rowId xmlns:a16="http://schemas.microsoft.com/office/drawing/2014/main" val="10001"/>
                  </a:ext>
                </a:extLst>
              </a:tr>
            </a:tbl>
          </a:graphicData>
        </a:graphic>
      </p:graphicFrame>
      <p:graphicFrame>
        <p:nvGraphicFramePr>
          <p:cNvPr id="9" name="object 19">
            <a:extLst>
              <a:ext uri="{FF2B5EF4-FFF2-40B4-BE49-F238E27FC236}">
                <a16:creationId xmlns:a16="http://schemas.microsoft.com/office/drawing/2014/main" id="{98AA3159-DE04-94A0-9D3D-A70918B8BC2A}"/>
              </a:ext>
            </a:extLst>
          </p:cNvPr>
          <p:cNvGraphicFramePr>
            <a:graphicFrameLocks noGrp="1"/>
          </p:cNvGraphicFramePr>
          <p:nvPr/>
        </p:nvGraphicFramePr>
        <p:xfrm>
          <a:off x="7915912" y="3706036"/>
          <a:ext cx="3883025" cy="1009394"/>
        </p:xfrm>
        <a:graphic>
          <a:graphicData uri="http://schemas.openxmlformats.org/drawingml/2006/table">
            <a:tbl>
              <a:tblPr firstRow="1" bandRow="1">
                <a:tableStyleId>{2D5ABB26-0587-4C30-8999-92F81FD0307C}</a:tableStyleId>
              </a:tblPr>
              <a:tblGrid>
                <a:gridCol w="3883025">
                  <a:extLst>
                    <a:ext uri="{9D8B030D-6E8A-4147-A177-3AD203B41FA5}">
                      <a16:colId xmlns:a16="http://schemas.microsoft.com/office/drawing/2014/main" val="20000"/>
                    </a:ext>
                  </a:extLst>
                </a:gridCol>
              </a:tblGrid>
              <a:tr h="383859">
                <a:tc>
                  <a:txBody>
                    <a:bodyPr/>
                    <a:lstStyle/>
                    <a:p>
                      <a:pPr marL="67945">
                        <a:lnSpc>
                          <a:spcPts val="1150"/>
                        </a:lnSpc>
                      </a:pPr>
                      <a:r>
                        <a:rPr sz="1400" b="1">
                          <a:latin typeface="Calibri"/>
                          <a:cs typeface="Calibri"/>
                        </a:rPr>
                        <a:t>Language</a:t>
                      </a:r>
                      <a:r>
                        <a:rPr sz="1400" b="1" spc="20">
                          <a:latin typeface="Calibri"/>
                          <a:cs typeface="Calibri"/>
                        </a:rPr>
                        <a:t> </a:t>
                      </a:r>
                      <a:r>
                        <a:rPr sz="1400" b="1" spc="-10">
                          <a:latin typeface="Calibri"/>
                          <a:cs typeface="Calibri"/>
                        </a:rPr>
                        <a:t>Proficiency</a:t>
                      </a:r>
                      <a:r>
                        <a:rPr sz="1400" b="1" spc="-15">
                          <a:latin typeface="Calibri"/>
                          <a:cs typeface="Calibri"/>
                        </a:rPr>
                        <a:t> </a:t>
                      </a:r>
                      <a:r>
                        <a:rPr sz="1400" b="1" spc="-10">
                          <a:latin typeface="Calibri"/>
                          <a:cs typeface="Calibri"/>
                        </a:rPr>
                        <a:t>Assessment</a:t>
                      </a:r>
                      <a:r>
                        <a:rPr sz="1400" b="1" spc="-5">
                          <a:latin typeface="Calibri"/>
                          <a:cs typeface="Calibri"/>
                        </a:rPr>
                        <a:t> </a:t>
                      </a:r>
                      <a:r>
                        <a:rPr sz="1400" b="1" spc="-10">
                          <a:latin typeface="Calibri"/>
                          <a:cs typeface="Calibri"/>
                        </a:rPr>
                        <a:t>Committee</a:t>
                      </a:r>
                      <a:endParaRPr sz="1400">
                        <a:latin typeface="Calibri"/>
                        <a:cs typeface="Calibri"/>
                      </a:endParaRPr>
                    </a:p>
                    <a:p>
                      <a:pPr marL="67945">
                        <a:lnSpc>
                          <a:spcPts val="1370"/>
                        </a:lnSpc>
                      </a:pPr>
                      <a:r>
                        <a:rPr sz="1400" b="1">
                          <a:latin typeface="Calibri"/>
                          <a:cs typeface="Calibri"/>
                        </a:rPr>
                        <a:t>(LPAC)</a:t>
                      </a:r>
                      <a:r>
                        <a:rPr sz="1400" b="1" spc="-35">
                          <a:latin typeface="Calibri"/>
                          <a:cs typeface="Calibri"/>
                        </a:rPr>
                        <a:t> </a:t>
                      </a:r>
                      <a:r>
                        <a:rPr lang="en-US" sz="1400" b="1">
                          <a:latin typeface="Calibri"/>
                          <a:cs typeface="Calibri"/>
                        </a:rPr>
                        <a:t>(EB students</a:t>
                      </a:r>
                      <a:r>
                        <a:rPr lang="en-US" sz="1400" b="1" spc="-10">
                          <a:latin typeface="Calibri"/>
                          <a:cs typeface="Calibri"/>
                        </a:rPr>
                        <a:t>)</a:t>
                      </a:r>
                      <a:endParaRPr sz="14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99CC"/>
                    </a:solidFill>
                  </a:tcPr>
                </a:tc>
                <a:extLst>
                  <a:ext uri="{0D108BD9-81ED-4DB2-BD59-A6C34878D82A}">
                    <a16:rowId xmlns:a16="http://schemas.microsoft.com/office/drawing/2014/main" val="10000"/>
                  </a:ext>
                </a:extLst>
              </a:tr>
              <a:tr h="625535">
                <a:tc>
                  <a:txBody>
                    <a:bodyPr/>
                    <a:lstStyle/>
                    <a:p>
                      <a:pPr marL="525780" indent="-229870">
                        <a:lnSpc>
                          <a:spcPts val="1405"/>
                        </a:lnSpc>
                        <a:buClr>
                          <a:srgbClr val="000000"/>
                        </a:buClr>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Content</a:t>
                      </a:r>
                      <a:r>
                        <a:rPr sz="1400" u="none" spc="-25" dirty="0">
                          <a:solidFill>
                            <a:srgbClr val="0000FF"/>
                          </a:solidFill>
                          <a:uFill>
                            <a:solidFill>
                              <a:srgbClr val="0561C1"/>
                            </a:solidFill>
                          </a:uFill>
                          <a:latin typeface="Calibri"/>
                          <a:cs typeface="Calibri"/>
                        </a:rPr>
                        <a:t> </a:t>
                      </a:r>
                      <a:r>
                        <a:rPr sz="1400" u="none" dirty="0">
                          <a:solidFill>
                            <a:srgbClr val="0000FF"/>
                          </a:solidFill>
                          <a:uFill>
                            <a:solidFill>
                              <a:srgbClr val="0561C1"/>
                            </a:solidFill>
                          </a:uFill>
                          <a:latin typeface="Calibri"/>
                          <a:cs typeface="Calibri"/>
                        </a:rPr>
                        <a:t>and</a:t>
                      </a:r>
                      <a:r>
                        <a:rPr sz="1400" u="none" spc="2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Language</a:t>
                      </a:r>
                      <a:r>
                        <a:rPr sz="1400" u="none" spc="5"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Supports</a:t>
                      </a:r>
                      <a:endParaRPr sz="1400" u="none" dirty="0">
                        <a:latin typeface="Calibri"/>
                        <a:cs typeface="Calibri"/>
                      </a:endParaRPr>
                    </a:p>
                    <a:p>
                      <a:pPr marL="525780" indent="-229870">
                        <a:lnSpc>
                          <a:spcPct val="100000"/>
                        </a:lnSpc>
                        <a:buClr>
                          <a:srgbClr val="000000"/>
                        </a:buClr>
                        <a:buSzPct val="91666"/>
                        <a:buFont typeface="Symbol"/>
                        <a:buChar char=""/>
                        <a:tabLst>
                          <a:tab pos="525145" algn="l"/>
                          <a:tab pos="525780" algn="l"/>
                        </a:tabLst>
                      </a:pPr>
                      <a:r>
                        <a:rPr sz="1400" u="none" spc="-10" dirty="0">
                          <a:solidFill>
                            <a:srgbClr val="0000FF"/>
                          </a:solidFill>
                          <a:uFill>
                            <a:solidFill>
                              <a:srgbClr val="0561C1"/>
                            </a:solidFill>
                          </a:uFill>
                          <a:latin typeface="Calibri"/>
                          <a:cs typeface="Calibri"/>
                        </a:rPr>
                        <a:t>Oral/Signed</a:t>
                      </a:r>
                      <a:r>
                        <a:rPr sz="1400" u="none" spc="30" dirty="0">
                          <a:solidFill>
                            <a:srgbClr val="0000FF"/>
                          </a:solidFill>
                          <a:uFill>
                            <a:solidFill>
                              <a:srgbClr val="0561C1"/>
                            </a:solidFill>
                          </a:uFill>
                          <a:latin typeface="Calibri"/>
                          <a:cs typeface="Calibri"/>
                        </a:rPr>
                        <a:t> </a:t>
                      </a:r>
                      <a:r>
                        <a:rPr sz="1400" u="none" spc="-10" dirty="0">
                          <a:solidFill>
                            <a:srgbClr val="0000FF"/>
                          </a:solidFill>
                          <a:uFill>
                            <a:solidFill>
                              <a:srgbClr val="0561C1"/>
                            </a:solidFill>
                          </a:uFill>
                          <a:latin typeface="Calibri"/>
                          <a:cs typeface="Calibri"/>
                        </a:rPr>
                        <a:t>Administration</a:t>
                      </a:r>
                      <a:endParaRPr sz="1400" u="none" dirty="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99CC">
                        <a:alpha val="25097"/>
                      </a:srgbClr>
                    </a:solidFill>
                  </a:tcPr>
                </a:tc>
                <a:extLst>
                  <a:ext uri="{0D108BD9-81ED-4DB2-BD59-A6C34878D82A}">
                    <a16:rowId xmlns:a16="http://schemas.microsoft.com/office/drawing/2014/main" val="10001"/>
                  </a:ext>
                </a:extLst>
              </a:tr>
            </a:tbl>
          </a:graphicData>
        </a:graphic>
      </p:graphicFrame>
      <p:sp>
        <p:nvSpPr>
          <p:cNvPr id="25" name="object 21">
            <a:extLst>
              <a:ext uri="{FF2B5EF4-FFF2-40B4-BE49-F238E27FC236}">
                <a16:creationId xmlns:a16="http://schemas.microsoft.com/office/drawing/2014/main" id="{5756CD83-9C81-1F99-60E9-53C19ECDB5C0}"/>
              </a:ext>
              <a:ext uri="{C183D7F6-B498-43B3-948B-1728B52AA6E4}">
                <adec:decorative xmlns:adec="http://schemas.microsoft.com/office/drawing/2017/decorative" val="1"/>
              </a:ext>
            </a:extLst>
          </p:cNvPr>
          <p:cNvSpPr txBox="1">
            <a:spLocks noGrp="1"/>
          </p:cNvSpPr>
          <p:nvPr>
            <p:ph type="title" idx="4294967295"/>
          </p:nvPr>
        </p:nvSpPr>
        <p:spPr>
          <a:xfrm>
            <a:off x="5367232" y="2282253"/>
            <a:ext cx="1782511" cy="1211634"/>
          </a:xfrm>
          <a:prstGeom prst="rect">
            <a:avLst/>
          </a:prstGeom>
          <a:solidFill>
            <a:schemeClr val="tx2"/>
          </a:solidFill>
          <a:ln>
            <a:noFill/>
            <a:prstDash/>
          </a:ln>
          <a:effectLst/>
        </p:spPr>
        <p:txBody>
          <a:bodyPr rot="0" spcFirstLastPara="0" vertOverflow="overflow" horzOverflow="overflow" vert="horz" wrap="square" lIns="0" tIns="11206" rIns="0" bIns="0" numCol="1" spcCol="0" rtlCol="0" fromWordArt="0" anchor="t" anchorCtr="0" forceAA="0" compatLnSpc="1">
            <a:prstTxWarp prst="textNoShape">
              <a:avLst/>
            </a:prstTxWarp>
            <a:spAutoFit/>
          </a:bodyPr>
          <a:lstStyle/>
          <a:p>
            <a:pPr marL="11206" marR="4483" lvl="0" indent="2802" algn="ctr" defTabSz="914400" rtl="0" eaLnBrk="1" fontAlgn="auto" latinLnBrk="0" hangingPunct="1">
              <a:lnSpc>
                <a:spcPct val="110000"/>
              </a:lnSpc>
              <a:spcBef>
                <a:spcPts val="88"/>
              </a:spcBef>
              <a:spcAft>
                <a:spcPts val="0"/>
              </a:spcAft>
              <a:buClrTx/>
              <a:buSzTx/>
              <a:buFontTx/>
              <a:buNone/>
              <a:tabLst/>
              <a:defRPr/>
            </a:pPr>
            <a:r>
              <a:rPr kumimoji="0" lang="en-US" sz="1800" b="1" i="0" u="none" strike="noStrike" kern="1200" cap="none" spc="-9" normalizeH="0" baseline="0" noProof="0" dirty="0">
                <a:ln>
                  <a:noFill/>
                </a:ln>
                <a:solidFill>
                  <a:prstClr val="white"/>
                </a:solidFill>
                <a:effectLst/>
                <a:uLnTx/>
                <a:uFillTx/>
                <a:latin typeface="Calibri"/>
                <a:ea typeface="+mn-ea"/>
                <a:cs typeface="Calibri"/>
              </a:rPr>
              <a:t>Available Accommodations </a:t>
            </a:r>
            <a:r>
              <a:rPr kumimoji="0" lang="en-US" sz="1800" b="1" i="0" u="none" strike="noStrike" kern="1200" cap="none" spc="0" normalizeH="0" baseline="0" noProof="0" dirty="0">
                <a:ln>
                  <a:noFill/>
                </a:ln>
                <a:solidFill>
                  <a:prstClr val="white"/>
                </a:solidFill>
                <a:effectLst/>
                <a:uLnTx/>
                <a:uFillTx/>
                <a:latin typeface="Calibri"/>
                <a:ea typeface="+mn-ea"/>
                <a:cs typeface="Calibri"/>
              </a:rPr>
              <a:t>by</a:t>
            </a:r>
            <a:r>
              <a:rPr kumimoji="0" lang="en-US" sz="1800" b="1" i="0" u="none" strike="noStrike" kern="1200" cap="none" spc="-18" normalizeH="0" baseline="0" noProof="0" dirty="0">
                <a:ln>
                  <a:noFill/>
                </a:ln>
                <a:solidFill>
                  <a:prstClr val="white"/>
                </a:solidFill>
                <a:effectLst/>
                <a:uLnTx/>
                <a:uFillTx/>
                <a:latin typeface="Calibri"/>
                <a:ea typeface="+mn-ea"/>
                <a:cs typeface="Calibri"/>
              </a:rPr>
              <a:t> </a:t>
            </a:r>
            <a:r>
              <a:rPr kumimoji="0" lang="en-US" sz="1800" b="1" i="0" u="none" strike="noStrike" kern="1200" cap="none" spc="-9" normalizeH="0" baseline="0" noProof="0" dirty="0">
                <a:ln>
                  <a:noFill/>
                </a:ln>
                <a:solidFill>
                  <a:prstClr val="white"/>
                </a:solidFill>
                <a:effectLst/>
                <a:uLnTx/>
                <a:uFillTx/>
                <a:latin typeface="Calibri"/>
                <a:ea typeface="+mn-ea"/>
                <a:cs typeface="Calibri"/>
              </a:rPr>
              <a:t>Academic Committee</a:t>
            </a:r>
            <a:endParaRPr kumimoji="0" lang="en-US" sz="1800" b="0" i="0" u="none" strike="noStrike" kern="1200" cap="none" spc="0" normalizeH="0" baseline="0" noProof="0" dirty="0">
              <a:ln>
                <a:noFill/>
              </a:ln>
              <a:solidFill>
                <a:prstClr val="white"/>
              </a:solidFill>
              <a:effectLst/>
              <a:uLnTx/>
              <a:uFillTx/>
              <a:latin typeface="Calibri"/>
              <a:ea typeface="+mn-ea"/>
              <a:cs typeface="Calibri"/>
            </a:endParaRPr>
          </a:p>
        </p:txBody>
      </p:sp>
    </p:spTree>
    <p:extLst>
      <p:ext uri="{BB962C8B-B14F-4D97-AF65-F5344CB8AC3E}">
        <p14:creationId xmlns:p14="http://schemas.microsoft.com/office/powerpoint/2010/main" val="1374878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B26E7-F544-4A5C-891B-2AA8C3FFE03B}"/>
              </a:ext>
            </a:extLst>
          </p:cNvPr>
          <p:cNvSpPr>
            <a:spLocks noGrp="1"/>
          </p:cNvSpPr>
          <p:nvPr>
            <p:ph type="title"/>
          </p:nvPr>
        </p:nvSpPr>
        <p:spPr>
          <a:xfrm>
            <a:off x="605489" y="72258"/>
            <a:ext cx="11121657" cy="751350"/>
          </a:xfrm>
        </p:spPr>
        <p:txBody>
          <a:bodyPr/>
          <a:lstStyle/>
          <a:p>
            <a:r>
              <a:rPr lang="en-US" dirty="0"/>
              <a:t>2023–2024 Accommodations</a:t>
            </a:r>
            <a:endParaRPr lang="en-US" dirty="0">
              <a:solidFill>
                <a:srgbClr val="F16038"/>
              </a:solidFill>
            </a:endParaRPr>
          </a:p>
        </p:txBody>
      </p:sp>
      <p:sp>
        <p:nvSpPr>
          <p:cNvPr id="4" name="TextBox 3">
            <a:extLst>
              <a:ext uri="{FF2B5EF4-FFF2-40B4-BE49-F238E27FC236}">
                <a16:creationId xmlns:a16="http://schemas.microsoft.com/office/drawing/2014/main" id="{32A80C9C-EF23-474A-A1E2-007B59CEF31B}"/>
              </a:ext>
            </a:extLst>
          </p:cNvPr>
          <p:cNvSpPr txBox="1"/>
          <p:nvPr/>
        </p:nvSpPr>
        <p:spPr>
          <a:xfrm>
            <a:off x="541720" y="892322"/>
            <a:ext cx="11462975" cy="1277273"/>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6CB9"/>
                </a:solidFill>
                <a:effectLst/>
                <a:uLnTx/>
                <a:uFillTx/>
                <a:latin typeface="Calibri" panose="020F0502020204030204" pitchFamily="34" charset="0"/>
                <a:ea typeface="+mn-ea"/>
                <a:cs typeface="+mn-cs"/>
              </a:rPr>
              <a:t>Assessments eligible for special paper or holistic administration of an online assessment: </a:t>
            </a:r>
            <a:endParaRPr kumimoji="0" lang="en-US" sz="2000" b="1"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800" b="0" i="0" u="none" strike="noStrike" kern="1200" cap="none" spc="0" normalizeH="0" baseline="0" noProof="0" dirty="0">
              <a:ln>
                <a:noFill/>
              </a:ln>
              <a:solidFill>
                <a:srgbClr val="0D6CB9"/>
              </a:solidFill>
              <a:effectLst/>
              <a:uLnTx/>
              <a:uFillTx/>
              <a:latin typeface="Calibri"/>
              <a:ea typeface="+mn-ea"/>
              <a:cs typeface="Calibri"/>
            </a:endParaRPr>
          </a:p>
          <a:p>
            <a:pPr marL="800100" marR="0" lvl="1" indent="-342900" algn="l" defTabSz="914400" rtl="0" eaLnBrk="1" fontAlgn="auto" latinLnBrk="0" hangingPunct="1">
              <a:lnSpc>
                <a:spcPct val="100000"/>
              </a:lnSpc>
              <a:spcBef>
                <a:spcPts val="0"/>
              </a:spcBef>
              <a:spcAft>
                <a:spcPts val="0"/>
              </a:spcAft>
              <a:buClr>
                <a:srgbClr val="FF8134"/>
              </a:buClr>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8" name="Slide Number Placeholder 7">
            <a:extLst>
              <a:ext uri="{FF2B5EF4-FFF2-40B4-BE49-F238E27FC236}">
                <a16:creationId xmlns:a16="http://schemas.microsoft.com/office/drawing/2014/main" id="{030576BD-3E6B-4268-85FF-C3EDE4BB1D2C}"/>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aphicFrame>
        <p:nvGraphicFramePr>
          <p:cNvPr id="2" name="Table 1" descr="Table referencing the test formats and whether a paper administration or holistic administration is available. information listed in DCCR">
            <a:extLst>
              <a:ext uri="{FF2B5EF4-FFF2-40B4-BE49-F238E27FC236}">
                <a16:creationId xmlns:a16="http://schemas.microsoft.com/office/drawing/2014/main" id="{4FE20CAC-2826-1650-1D0D-83C2B7EE9A6B}"/>
              </a:ext>
            </a:extLst>
          </p:cNvPr>
          <p:cNvGraphicFramePr>
            <a:graphicFrameLocks noGrp="1"/>
          </p:cNvGraphicFramePr>
          <p:nvPr>
            <p:extLst>
              <p:ext uri="{D42A27DB-BD31-4B8C-83A1-F6EECF244321}">
                <p14:modId xmlns:p14="http://schemas.microsoft.com/office/powerpoint/2010/main" val="3672948858"/>
              </p:ext>
            </p:extLst>
          </p:nvPr>
        </p:nvGraphicFramePr>
        <p:xfrm>
          <a:off x="605489" y="1463256"/>
          <a:ext cx="10828962" cy="4426222"/>
        </p:xfrm>
        <a:graphic>
          <a:graphicData uri="http://schemas.openxmlformats.org/drawingml/2006/table">
            <a:tbl>
              <a:tblPr firstRow="1"/>
              <a:tblGrid>
                <a:gridCol w="4578807">
                  <a:extLst>
                    <a:ext uri="{9D8B030D-6E8A-4147-A177-3AD203B41FA5}">
                      <a16:colId xmlns:a16="http://schemas.microsoft.com/office/drawing/2014/main" val="3996937224"/>
                    </a:ext>
                  </a:extLst>
                </a:gridCol>
                <a:gridCol w="3447163">
                  <a:extLst>
                    <a:ext uri="{9D8B030D-6E8A-4147-A177-3AD203B41FA5}">
                      <a16:colId xmlns:a16="http://schemas.microsoft.com/office/drawing/2014/main" val="4090576766"/>
                    </a:ext>
                  </a:extLst>
                </a:gridCol>
                <a:gridCol w="2802992">
                  <a:extLst>
                    <a:ext uri="{9D8B030D-6E8A-4147-A177-3AD203B41FA5}">
                      <a16:colId xmlns:a16="http://schemas.microsoft.com/office/drawing/2014/main" val="97038870"/>
                    </a:ext>
                  </a:extLst>
                </a:gridCol>
              </a:tblGrid>
              <a:tr h="464981">
                <a:tc>
                  <a:txBody>
                    <a:bodyPr/>
                    <a:lstStyle/>
                    <a:p>
                      <a:pPr fontAlgn="t"/>
                      <a:endParaRPr lang="en-US" sz="2000" dirty="0">
                        <a:effectLst/>
                      </a:endParaRPr>
                    </a:p>
                    <a:p>
                      <a:pPr algn="l" rtl="0" fontAlgn="base"/>
                      <a:r>
                        <a:rPr lang="en-US" sz="1200" b="1" i="0" dirty="0">
                          <a:solidFill>
                            <a:srgbClr val="000000"/>
                          </a:solidFill>
                          <a:effectLst/>
                          <a:latin typeface="Calibri"/>
                        </a:rPr>
                        <a:t>Test Format </a:t>
                      </a:r>
                      <a:endParaRPr lang="en-US" sz="2000" b="1" i="0" dirty="0">
                        <a:solidFill>
                          <a:srgbClr val="FFFFFF"/>
                        </a:solidFill>
                        <a:effectLst/>
                        <a:latin typeface="Calibri"/>
                      </a:endParaRPr>
                    </a:p>
                  </a:txBody>
                  <a:tcPr marL="49824" marR="49824" marT="24912" marB="24912">
                    <a:lnL w="6350" cap="flat" cmpd="sng" algn="ctr">
                      <a:solidFill>
                        <a:srgbClr val="08FD8B"/>
                      </a:solidFill>
                      <a:prstDash val="solid"/>
                      <a:round/>
                      <a:headEnd type="none" w="med" len="med"/>
                      <a:tailEnd type="none" w="med" len="med"/>
                    </a:lnL>
                    <a:lnR>
                      <a:noFill/>
                    </a:lnR>
                    <a:lnT w="6350" cap="flat" cmpd="sng" algn="ctr">
                      <a:solidFill>
                        <a:srgbClr val="08FD8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FBFBF"/>
                    </a:solidFill>
                  </a:tcPr>
                </a:tc>
                <a:tc>
                  <a:txBody>
                    <a:bodyPr/>
                    <a:lstStyle/>
                    <a:p>
                      <a:pPr fontAlgn="t"/>
                      <a:endParaRPr lang="en-US" sz="2000">
                        <a:effectLst/>
                      </a:endParaRPr>
                    </a:p>
                    <a:p>
                      <a:pPr algn="l" rtl="0" fontAlgn="base"/>
                      <a:r>
                        <a:rPr lang="en-US" sz="1200" b="1" i="0">
                          <a:solidFill>
                            <a:srgbClr val="000000"/>
                          </a:solidFill>
                          <a:effectLst/>
                          <a:latin typeface="Calibri"/>
                        </a:rPr>
                        <a:t>Paper Administration </a:t>
                      </a:r>
                      <a:endParaRPr lang="en-US" sz="2000" b="1" i="0">
                        <a:solidFill>
                          <a:srgbClr val="FFFFFF"/>
                        </a:solidFill>
                        <a:effectLst/>
                        <a:latin typeface="Calibri"/>
                      </a:endParaRPr>
                    </a:p>
                  </a:txBody>
                  <a:tcPr marL="49824" marR="49824" marT="24912" marB="24912">
                    <a:lnL>
                      <a:noFill/>
                    </a:lnL>
                    <a:lnR>
                      <a:noFill/>
                    </a:lnR>
                    <a:lnT w="6350" cap="flat" cmpd="sng" algn="ctr">
                      <a:solidFill>
                        <a:srgbClr val="10A8EC"/>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FBFBF"/>
                    </a:solidFill>
                  </a:tcPr>
                </a:tc>
                <a:tc>
                  <a:txBody>
                    <a:bodyPr/>
                    <a:lstStyle/>
                    <a:p>
                      <a:pPr fontAlgn="t"/>
                      <a:endParaRPr lang="en-US" sz="2000">
                        <a:effectLst/>
                      </a:endParaRPr>
                    </a:p>
                    <a:p>
                      <a:pPr algn="l" rtl="0" fontAlgn="base"/>
                      <a:r>
                        <a:rPr lang="en-US" sz="1200" b="1" i="0">
                          <a:solidFill>
                            <a:srgbClr val="000000"/>
                          </a:solidFill>
                          <a:effectLst/>
                          <a:latin typeface="Calibri"/>
                        </a:rPr>
                        <a:t>Holistic Administration </a:t>
                      </a:r>
                      <a:endParaRPr lang="en-US" sz="2000" b="1" i="0">
                        <a:solidFill>
                          <a:srgbClr val="FFFFFF"/>
                        </a:solidFill>
                        <a:effectLst/>
                        <a:latin typeface="Calibri"/>
                      </a:endParaRPr>
                    </a:p>
                  </a:txBody>
                  <a:tcPr marL="49824" marR="49824" marT="24912" marB="24912">
                    <a:lnL>
                      <a:noFill/>
                    </a:lnL>
                    <a:lnR w="6350" cap="flat" cmpd="sng" algn="ctr">
                      <a:solidFill>
                        <a:srgbClr val="90B4EC"/>
                      </a:solidFill>
                      <a:prstDash val="solid"/>
                      <a:round/>
                      <a:headEnd type="none" w="med" len="med"/>
                      <a:tailEnd type="none" w="med" len="med"/>
                    </a:lnR>
                    <a:lnT w="6350" cap="flat" cmpd="sng" algn="ctr">
                      <a:solidFill>
                        <a:srgbClr val="90B4EC"/>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FBFBF"/>
                    </a:solidFill>
                  </a:tcPr>
                </a:tc>
                <a:extLst>
                  <a:ext uri="{0D108BD9-81ED-4DB2-BD59-A6C34878D82A}">
                    <a16:rowId xmlns:a16="http://schemas.microsoft.com/office/drawing/2014/main" val="1932884449"/>
                  </a:ext>
                </a:extLst>
              </a:tr>
              <a:tr h="464981">
                <a:tc>
                  <a:txBody>
                    <a:bodyPr/>
                    <a:lstStyle/>
                    <a:p>
                      <a:pPr fontAlgn="t"/>
                      <a:endParaRPr lang="en-US" sz="1200" b="1">
                        <a:effectLst/>
                      </a:endParaRPr>
                    </a:p>
                    <a:p>
                      <a:pPr algn="l" rtl="0" fontAlgn="base"/>
                      <a:r>
                        <a:rPr lang="en-US" sz="1200" b="1" i="0">
                          <a:effectLst/>
                          <a:latin typeface="Calibri"/>
                        </a:rPr>
                        <a:t>STAAR grades 3-8 and EOC regular print and large print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tc>
                  <a:txBody>
                    <a:bodyPr/>
                    <a:lstStyle/>
                    <a:p>
                      <a:pPr fontAlgn="t"/>
                      <a:endParaRPr lang="en-US" sz="1200" b="1">
                        <a:effectLst/>
                      </a:endParaRPr>
                    </a:p>
                    <a:p>
                      <a:pPr algn="ctr" rtl="0" fontAlgn="base"/>
                      <a:r>
                        <a:rPr lang="en-US" sz="1200" b="1" i="0">
                          <a:effectLst/>
                          <a:latin typeface="Calibri"/>
                        </a:rPr>
                        <a:t>X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tc>
                  <a:txBody>
                    <a:bodyPr/>
                    <a:lstStyle/>
                    <a:p>
                      <a:pPr fontAlgn="t"/>
                      <a:endParaRPr lang="en-US" sz="1200" b="1">
                        <a:effectLst/>
                      </a:endParaRPr>
                    </a:p>
                    <a:p>
                      <a:pPr algn="l" rtl="0" fontAlgn="base"/>
                      <a:r>
                        <a:rPr lang="en-US" sz="1200" b="1" i="0">
                          <a:effectLst/>
                          <a:latin typeface="Calibri" panose="020F0502020204030204" pitchFamily="34" charset="0"/>
                        </a:rPr>
                        <a:t> </a:t>
                      </a:r>
                      <a:endParaRPr lang="en-US" sz="1200" b="1" i="0">
                        <a:effectLst/>
                      </a:endParaRP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extLst>
                  <a:ext uri="{0D108BD9-81ED-4DB2-BD59-A6C34878D82A}">
                    <a16:rowId xmlns:a16="http://schemas.microsoft.com/office/drawing/2014/main" val="1753723158"/>
                  </a:ext>
                </a:extLst>
              </a:tr>
              <a:tr h="464981">
                <a:tc>
                  <a:txBody>
                    <a:bodyPr/>
                    <a:lstStyle/>
                    <a:p>
                      <a:pPr fontAlgn="t"/>
                      <a:endParaRPr lang="en-US" sz="1200" b="1" dirty="0">
                        <a:effectLst/>
                      </a:endParaRPr>
                    </a:p>
                    <a:p>
                      <a:pPr algn="l" rtl="0" fontAlgn="base"/>
                      <a:r>
                        <a:rPr lang="en-US" sz="1200" b="1" i="0" dirty="0">
                          <a:effectLst/>
                          <a:latin typeface="Calibri"/>
                        </a:rPr>
                        <a:t>STAAR Spanish grades 3-5 regular print and large print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tc>
                  <a:txBody>
                    <a:bodyPr/>
                    <a:lstStyle/>
                    <a:p>
                      <a:pPr fontAlgn="t"/>
                      <a:endParaRPr lang="en-US" sz="1200" b="1">
                        <a:effectLst/>
                      </a:endParaRPr>
                    </a:p>
                    <a:p>
                      <a:pPr algn="ctr" rtl="0" fontAlgn="base"/>
                      <a:r>
                        <a:rPr lang="en-US" sz="1200" b="1" i="0">
                          <a:effectLst/>
                          <a:latin typeface="Calibri"/>
                        </a:rPr>
                        <a:t>X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tc>
                  <a:txBody>
                    <a:bodyPr/>
                    <a:lstStyle/>
                    <a:p>
                      <a:pPr fontAlgn="t"/>
                      <a:endParaRPr lang="en-US" sz="1200" b="1">
                        <a:effectLst/>
                      </a:endParaRPr>
                    </a:p>
                    <a:p>
                      <a:pPr algn="l" rtl="0" fontAlgn="base"/>
                      <a:r>
                        <a:rPr lang="en-US" sz="1200" b="1" i="0">
                          <a:effectLst/>
                          <a:latin typeface="Calibri" panose="020F0502020204030204" pitchFamily="34" charset="0"/>
                        </a:rPr>
                        <a:t> </a:t>
                      </a:r>
                      <a:endParaRPr lang="en-US" sz="1200" b="1" i="0">
                        <a:effectLst/>
                      </a:endParaRP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extLst>
                  <a:ext uri="{0D108BD9-81ED-4DB2-BD59-A6C34878D82A}">
                    <a16:rowId xmlns:a16="http://schemas.microsoft.com/office/drawing/2014/main" val="821117048"/>
                  </a:ext>
                </a:extLst>
              </a:tr>
              <a:tr h="732645">
                <a:tc>
                  <a:txBody>
                    <a:bodyPr/>
                    <a:lstStyle/>
                    <a:p>
                      <a:pPr fontAlgn="t"/>
                      <a:endParaRPr lang="en-US" sz="1200" b="1">
                        <a:effectLst/>
                      </a:endParaRPr>
                    </a:p>
                    <a:p>
                      <a:pPr algn="l" rtl="0" fontAlgn="base"/>
                      <a:r>
                        <a:rPr lang="en-US" sz="1200" b="1" i="0">
                          <a:effectLst/>
                          <a:latin typeface="Calibri"/>
                        </a:rPr>
                        <a:t>STAAR with Embedded Supports grades 3-8 and EOC regular print, large print, and braille (contracted and uncontracted)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tc>
                  <a:txBody>
                    <a:bodyPr/>
                    <a:lstStyle/>
                    <a:p>
                      <a:pPr fontAlgn="t"/>
                      <a:endParaRPr lang="en-US" sz="1200" b="1">
                        <a:effectLst/>
                      </a:endParaRPr>
                    </a:p>
                    <a:p>
                      <a:pPr algn="ctr" rtl="0" fontAlgn="base"/>
                      <a:r>
                        <a:rPr lang="en-US" sz="1200" b="1" i="0">
                          <a:effectLst/>
                          <a:latin typeface="Calibri"/>
                        </a:rPr>
                        <a:t>X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tc>
                  <a:txBody>
                    <a:bodyPr/>
                    <a:lstStyle/>
                    <a:p>
                      <a:pPr fontAlgn="t"/>
                      <a:endParaRPr lang="en-US" sz="1200" b="1">
                        <a:effectLst/>
                      </a:endParaRPr>
                    </a:p>
                    <a:p>
                      <a:pPr algn="l" rtl="0" fontAlgn="base"/>
                      <a:r>
                        <a:rPr lang="en-US" sz="1200" b="1" i="0">
                          <a:effectLst/>
                          <a:latin typeface="Calibri" panose="020F0502020204030204" pitchFamily="34" charset="0"/>
                        </a:rPr>
                        <a:t> </a:t>
                      </a:r>
                      <a:endParaRPr lang="en-US" sz="1200" b="1" i="0">
                        <a:effectLst/>
                      </a:endParaRP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extLst>
                  <a:ext uri="{0D108BD9-81ED-4DB2-BD59-A6C34878D82A}">
                    <a16:rowId xmlns:a16="http://schemas.microsoft.com/office/drawing/2014/main" val="665588244"/>
                  </a:ext>
                </a:extLst>
              </a:tr>
              <a:tr h="464981">
                <a:tc>
                  <a:txBody>
                    <a:bodyPr/>
                    <a:lstStyle/>
                    <a:p>
                      <a:pPr fontAlgn="t"/>
                      <a:endParaRPr lang="en-US" sz="1200" b="1">
                        <a:effectLst/>
                      </a:endParaRPr>
                    </a:p>
                    <a:p>
                      <a:pPr algn="l" rtl="0" fontAlgn="base"/>
                      <a:r>
                        <a:rPr lang="en-US" sz="1200" b="1" i="0">
                          <a:effectLst/>
                          <a:latin typeface="Calibri"/>
                        </a:rPr>
                        <a:t>STAAR grades 3-8 and EOC braille (contracted and uncontracted)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tc>
                  <a:txBody>
                    <a:bodyPr/>
                    <a:lstStyle/>
                    <a:p>
                      <a:pPr fontAlgn="t"/>
                      <a:endParaRPr lang="en-US" sz="1200" b="1">
                        <a:effectLst/>
                      </a:endParaRPr>
                    </a:p>
                    <a:p>
                      <a:pPr algn="ctr" rtl="0" fontAlgn="base"/>
                      <a:r>
                        <a:rPr lang="en-US" sz="1200" b="1" i="0">
                          <a:effectLst/>
                          <a:latin typeface="Calibri"/>
                        </a:rPr>
                        <a:t>X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tc>
                  <a:txBody>
                    <a:bodyPr/>
                    <a:lstStyle/>
                    <a:p>
                      <a:pPr fontAlgn="t"/>
                      <a:endParaRPr lang="en-US" sz="1200" b="1">
                        <a:effectLst/>
                      </a:endParaRPr>
                    </a:p>
                    <a:p>
                      <a:pPr algn="l" rtl="0" fontAlgn="base"/>
                      <a:r>
                        <a:rPr lang="en-US" sz="1200" b="1" i="0">
                          <a:effectLst/>
                          <a:latin typeface="Calibri" panose="020F0502020204030204" pitchFamily="34" charset="0"/>
                        </a:rPr>
                        <a:t> </a:t>
                      </a:r>
                      <a:endParaRPr lang="en-US" sz="1200" b="1" i="0">
                        <a:effectLst/>
                      </a:endParaRP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B4C6E7"/>
                    </a:solidFill>
                  </a:tcPr>
                </a:tc>
                <a:extLst>
                  <a:ext uri="{0D108BD9-81ED-4DB2-BD59-A6C34878D82A}">
                    <a16:rowId xmlns:a16="http://schemas.microsoft.com/office/drawing/2014/main" val="311030288"/>
                  </a:ext>
                </a:extLst>
              </a:tr>
              <a:tr h="464981">
                <a:tc>
                  <a:txBody>
                    <a:bodyPr/>
                    <a:lstStyle/>
                    <a:p>
                      <a:pPr fontAlgn="t"/>
                      <a:endParaRPr lang="en-US" sz="1200" b="1" dirty="0">
                        <a:effectLst/>
                      </a:endParaRPr>
                    </a:p>
                    <a:p>
                      <a:pPr algn="l" rtl="0" fontAlgn="base"/>
                      <a:r>
                        <a:rPr lang="en-US" sz="1200" b="1" i="0" dirty="0">
                          <a:effectLst/>
                          <a:latin typeface="Calibri"/>
                        </a:rPr>
                        <a:t>TELPAS reading grades 2-12 regular print and large print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tc>
                  <a:txBody>
                    <a:bodyPr/>
                    <a:lstStyle/>
                    <a:p>
                      <a:pPr fontAlgn="t"/>
                      <a:endParaRPr lang="en-US" sz="1200" b="1">
                        <a:effectLst/>
                      </a:endParaRPr>
                    </a:p>
                    <a:p>
                      <a:pPr algn="ctr" rtl="0" fontAlgn="base"/>
                      <a:r>
                        <a:rPr lang="en-US" sz="1200" b="1" i="0">
                          <a:effectLst/>
                          <a:latin typeface="Calibri"/>
                        </a:rPr>
                        <a:t>X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tc>
                  <a:txBody>
                    <a:bodyPr/>
                    <a:lstStyle/>
                    <a:p>
                      <a:pPr fontAlgn="t"/>
                      <a:endParaRPr lang="en-US" sz="1200" b="1">
                        <a:effectLst/>
                      </a:endParaRPr>
                    </a:p>
                    <a:p>
                      <a:pPr algn="l" rtl="0" fontAlgn="base"/>
                      <a:r>
                        <a:rPr lang="en-US" sz="1200" b="1" i="0">
                          <a:effectLst/>
                          <a:latin typeface="Calibri" panose="020F0502020204030204" pitchFamily="34" charset="0"/>
                        </a:rPr>
                        <a:t> </a:t>
                      </a:r>
                      <a:endParaRPr lang="en-US" sz="1200" b="1" i="0">
                        <a:effectLst/>
                      </a:endParaRP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extLst>
                  <a:ext uri="{0D108BD9-81ED-4DB2-BD59-A6C34878D82A}">
                    <a16:rowId xmlns:a16="http://schemas.microsoft.com/office/drawing/2014/main" val="2122317078"/>
                  </a:ext>
                </a:extLst>
              </a:tr>
              <a:tr h="464981">
                <a:tc>
                  <a:txBody>
                    <a:bodyPr/>
                    <a:lstStyle/>
                    <a:p>
                      <a:pPr fontAlgn="t"/>
                      <a:endParaRPr lang="en-US" sz="1200" b="1" dirty="0">
                        <a:effectLst/>
                      </a:endParaRPr>
                    </a:p>
                    <a:p>
                      <a:pPr algn="l" rtl="0" fontAlgn="base"/>
                      <a:r>
                        <a:rPr lang="en-US" sz="1200" b="1" i="0" dirty="0">
                          <a:effectLst/>
                          <a:latin typeface="Calibri"/>
                        </a:rPr>
                        <a:t>TELPAS reading grades 2-12 braille (contracted and uncontracted)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tc>
                  <a:txBody>
                    <a:bodyPr/>
                    <a:lstStyle/>
                    <a:p>
                      <a:pPr fontAlgn="t"/>
                      <a:endParaRPr lang="en-US" sz="1200" b="1">
                        <a:effectLst/>
                      </a:endParaRPr>
                    </a:p>
                    <a:p>
                      <a:pPr algn="ctr" rtl="0" fontAlgn="base"/>
                      <a:r>
                        <a:rPr lang="en-US" sz="1200" b="1" i="0">
                          <a:effectLst/>
                          <a:latin typeface="Calibri"/>
                        </a:rPr>
                        <a:t>X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tc>
                  <a:txBody>
                    <a:bodyPr/>
                    <a:lstStyle/>
                    <a:p>
                      <a:pPr fontAlgn="t"/>
                      <a:endParaRPr lang="en-US" sz="1200" b="1">
                        <a:effectLst/>
                      </a:endParaRPr>
                    </a:p>
                    <a:p>
                      <a:pPr algn="l" rtl="0" fontAlgn="base"/>
                      <a:r>
                        <a:rPr lang="en-US" sz="1200" b="1" i="0">
                          <a:effectLst/>
                          <a:latin typeface="Calibri" panose="020F0502020204030204" pitchFamily="34" charset="0"/>
                        </a:rPr>
                        <a:t> </a:t>
                      </a:r>
                      <a:endParaRPr lang="en-US" sz="1200" b="1" i="0">
                        <a:effectLst/>
                      </a:endParaRP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extLst>
                  <a:ext uri="{0D108BD9-81ED-4DB2-BD59-A6C34878D82A}">
                    <a16:rowId xmlns:a16="http://schemas.microsoft.com/office/drawing/2014/main" val="51462345"/>
                  </a:ext>
                </a:extLst>
              </a:tr>
              <a:tr h="375759">
                <a:tc>
                  <a:txBody>
                    <a:bodyPr/>
                    <a:lstStyle/>
                    <a:p>
                      <a:pPr fontAlgn="t"/>
                      <a:endParaRPr lang="en-US" sz="1200" b="1" dirty="0">
                        <a:effectLst/>
                      </a:endParaRPr>
                    </a:p>
                    <a:p>
                      <a:pPr algn="l" rtl="0" fontAlgn="base"/>
                      <a:r>
                        <a:rPr lang="en-US" sz="1200" b="1" i="0" dirty="0">
                          <a:effectLst/>
                          <a:latin typeface="Calibri"/>
                        </a:rPr>
                        <a:t>TELPAS writing grades 2-12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tc>
                  <a:txBody>
                    <a:bodyPr/>
                    <a:lstStyle/>
                    <a:p>
                      <a:pPr fontAlgn="t"/>
                      <a:endParaRPr lang="en-US" sz="1200" b="1">
                        <a:effectLst/>
                      </a:endParaRPr>
                    </a:p>
                    <a:p>
                      <a:pPr algn="ctr" rtl="0" fontAlgn="base"/>
                      <a:r>
                        <a:rPr lang="en-US" sz="1200" b="1" i="0">
                          <a:effectLst/>
                          <a:latin typeface="Calibri" panose="020F0502020204030204" pitchFamily="34" charset="0"/>
                        </a:rPr>
                        <a:t> </a:t>
                      </a:r>
                      <a:endParaRPr lang="en-US" sz="1200" b="1" i="0">
                        <a:effectLst/>
                      </a:endParaRP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tc>
                  <a:txBody>
                    <a:bodyPr/>
                    <a:lstStyle/>
                    <a:p>
                      <a:pPr fontAlgn="t"/>
                      <a:endParaRPr lang="en-US" sz="1200" b="1">
                        <a:effectLst/>
                      </a:endParaRPr>
                    </a:p>
                    <a:p>
                      <a:pPr algn="ctr" rtl="0" fontAlgn="base"/>
                      <a:r>
                        <a:rPr lang="en-US" sz="1200" b="1" i="0">
                          <a:effectLst/>
                          <a:latin typeface="Calibri"/>
                        </a:rPr>
                        <a:t>X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extLst>
                  <a:ext uri="{0D108BD9-81ED-4DB2-BD59-A6C34878D82A}">
                    <a16:rowId xmlns:a16="http://schemas.microsoft.com/office/drawing/2014/main" val="3044324131"/>
                  </a:ext>
                </a:extLst>
              </a:tr>
              <a:tr h="375759">
                <a:tc>
                  <a:txBody>
                    <a:bodyPr/>
                    <a:lstStyle/>
                    <a:p>
                      <a:pPr fontAlgn="t"/>
                      <a:endParaRPr lang="en-US" sz="1200" b="1" dirty="0">
                        <a:effectLst/>
                      </a:endParaRPr>
                    </a:p>
                    <a:p>
                      <a:pPr algn="l" rtl="0" fontAlgn="base"/>
                      <a:r>
                        <a:rPr lang="en-US" sz="1200" b="1" i="0" dirty="0">
                          <a:effectLst/>
                          <a:latin typeface="Calibri"/>
                        </a:rPr>
                        <a:t>TELPAS listening and speaking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tc>
                  <a:txBody>
                    <a:bodyPr/>
                    <a:lstStyle/>
                    <a:p>
                      <a:pPr fontAlgn="t"/>
                      <a:endParaRPr lang="en-US" sz="1200" b="1">
                        <a:effectLst/>
                      </a:endParaRPr>
                    </a:p>
                    <a:p>
                      <a:pPr algn="ctr" rtl="0" fontAlgn="base"/>
                      <a:r>
                        <a:rPr lang="en-US" sz="1200" b="1" i="0">
                          <a:effectLst/>
                          <a:latin typeface="Calibri" panose="020F0502020204030204" pitchFamily="34" charset="0"/>
                        </a:rPr>
                        <a:t> </a:t>
                      </a:r>
                      <a:endParaRPr lang="en-US" sz="1200" b="1" i="0">
                        <a:effectLst/>
                      </a:endParaRP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tc>
                  <a:txBody>
                    <a:bodyPr/>
                    <a:lstStyle/>
                    <a:p>
                      <a:pPr fontAlgn="t"/>
                      <a:endParaRPr lang="en-US" sz="1200" b="1" dirty="0">
                        <a:effectLst/>
                      </a:endParaRPr>
                    </a:p>
                    <a:p>
                      <a:pPr algn="ctr" rtl="0" fontAlgn="base"/>
                      <a:r>
                        <a:rPr lang="en-US" sz="1200" b="1" i="0" dirty="0">
                          <a:effectLst/>
                          <a:latin typeface="Calibri"/>
                        </a:rPr>
                        <a:t>X </a:t>
                      </a:r>
                    </a:p>
                  </a:txBody>
                  <a:tcPr marL="49824" marR="49824" marT="24912" marB="24912" anchor="ctr">
                    <a:lnL w="6350" cap="flat" cmpd="sng" algn="ctr">
                      <a:solidFill>
                        <a:srgbClr val="8EAADB"/>
                      </a:solidFill>
                      <a:prstDash val="solid"/>
                      <a:round/>
                      <a:headEnd type="none" w="med" len="med"/>
                      <a:tailEnd type="none" w="med" len="med"/>
                    </a:lnL>
                    <a:lnR w="6350" cap="flat" cmpd="sng" algn="ctr">
                      <a:solidFill>
                        <a:srgbClr val="8EAADB"/>
                      </a:solidFill>
                      <a:prstDash val="solid"/>
                      <a:round/>
                      <a:headEnd type="none" w="med" len="med"/>
                      <a:tailEnd type="none" w="med" len="med"/>
                    </a:lnR>
                    <a:lnT w="6350" cap="flat" cmpd="sng" algn="ctr">
                      <a:solidFill>
                        <a:srgbClr val="8EAADB"/>
                      </a:solidFill>
                      <a:prstDash val="solid"/>
                      <a:round/>
                      <a:headEnd type="none" w="med" len="med"/>
                      <a:tailEnd type="none" w="med" len="med"/>
                    </a:lnT>
                    <a:lnB w="6350" cap="flat" cmpd="sng" algn="ctr">
                      <a:solidFill>
                        <a:srgbClr val="8EAADB"/>
                      </a:solidFill>
                      <a:prstDash val="solid"/>
                      <a:round/>
                      <a:headEnd type="none" w="med" len="med"/>
                      <a:tailEnd type="none" w="med" len="med"/>
                    </a:lnB>
                    <a:solidFill>
                      <a:srgbClr val="D695FF"/>
                    </a:solidFill>
                  </a:tcPr>
                </a:tc>
                <a:extLst>
                  <a:ext uri="{0D108BD9-81ED-4DB2-BD59-A6C34878D82A}">
                    <a16:rowId xmlns:a16="http://schemas.microsoft.com/office/drawing/2014/main" val="2138940572"/>
                  </a:ext>
                </a:extLst>
              </a:tr>
            </a:tbl>
          </a:graphicData>
        </a:graphic>
      </p:graphicFrame>
    </p:spTree>
    <p:extLst>
      <p:ext uri="{BB962C8B-B14F-4D97-AF65-F5344CB8AC3E}">
        <p14:creationId xmlns:p14="http://schemas.microsoft.com/office/powerpoint/2010/main" val="23006899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FEFBE-0D6B-41A6-A311-670EE09CAD8E}"/>
              </a:ext>
            </a:extLst>
          </p:cNvPr>
          <p:cNvSpPr>
            <a:spLocks noGrp="1"/>
          </p:cNvSpPr>
          <p:nvPr>
            <p:ph type="ctrTitle"/>
          </p:nvPr>
        </p:nvSpPr>
        <p:spPr/>
        <p:txBody>
          <a:bodyPr/>
          <a:lstStyle/>
          <a:p>
            <a:r>
              <a:rPr lang="en-US" dirty="0">
                <a:cs typeface="Calibri"/>
              </a:rPr>
              <a:t>Accommodation Policy</a:t>
            </a:r>
            <a:endParaRPr lang="en-US" dirty="0"/>
          </a:p>
        </p:txBody>
      </p:sp>
    </p:spTree>
    <p:extLst>
      <p:ext uri="{BB962C8B-B14F-4D97-AF65-F5344CB8AC3E}">
        <p14:creationId xmlns:p14="http://schemas.microsoft.com/office/powerpoint/2010/main" val="33326374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B26E7-F544-4A5C-891B-2AA8C3FFE03B}"/>
              </a:ext>
            </a:extLst>
          </p:cNvPr>
          <p:cNvSpPr>
            <a:spLocks noGrp="1"/>
          </p:cNvSpPr>
          <p:nvPr>
            <p:ph type="title"/>
          </p:nvPr>
        </p:nvSpPr>
        <p:spPr/>
        <p:txBody>
          <a:bodyPr/>
          <a:lstStyle/>
          <a:p>
            <a:r>
              <a:rPr lang="en-US" dirty="0"/>
              <a:t>2023–2024 Accommodations</a:t>
            </a:r>
            <a:endParaRPr lang="en-US" dirty="0">
              <a:solidFill>
                <a:srgbClr val="F16038"/>
              </a:solidFill>
            </a:endParaRPr>
          </a:p>
        </p:txBody>
      </p:sp>
      <p:sp>
        <p:nvSpPr>
          <p:cNvPr id="4" name="TextBox 3">
            <a:extLst>
              <a:ext uri="{FF2B5EF4-FFF2-40B4-BE49-F238E27FC236}">
                <a16:creationId xmlns:a16="http://schemas.microsoft.com/office/drawing/2014/main" id="{32A80C9C-EF23-474A-A1E2-007B59CEF31B}"/>
              </a:ext>
            </a:extLst>
          </p:cNvPr>
          <p:cNvSpPr txBox="1"/>
          <p:nvPr/>
        </p:nvSpPr>
        <p:spPr>
          <a:xfrm>
            <a:off x="127387" y="904580"/>
            <a:ext cx="9888484" cy="523220"/>
          </a:xfrm>
          <a:prstGeom prst="rect">
            <a:avLst/>
          </a:prstGeom>
          <a:noFill/>
        </p:spPr>
        <p:txBody>
          <a:bodyPr wrap="square" lIns="91440" tIns="45720" rIns="91440" bIns="45720" rtlCol="0" anchor="t">
            <a:spAutoFit/>
          </a:bodyPr>
          <a:lstStyle/>
          <a:p>
            <a:pPr marL="457200" marR="0" lvl="1"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2800" b="1" i="0" u="none" strike="noStrike" kern="1200" cap="none" spc="0" normalizeH="0" baseline="0" noProof="0">
                <a:ln>
                  <a:noFill/>
                </a:ln>
                <a:solidFill>
                  <a:srgbClr val="0D6CB9"/>
                </a:solidFill>
                <a:effectLst/>
                <a:uLnTx/>
                <a:uFillTx/>
                <a:latin typeface="Calibri"/>
                <a:ea typeface="+mn-ea"/>
                <a:cs typeface="Calibri"/>
              </a:rPr>
              <a:t>Paper orders for online assessment: Unique Scenarios</a:t>
            </a:r>
            <a:endParaRPr kumimoji="0" lang="en-US" sz="900" b="0" i="0" u="none" strike="noStrike" kern="1200" cap="none" spc="0" normalizeH="0" baseline="0" noProof="0">
              <a:ln>
                <a:noFill/>
              </a:ln>
              <a:solidFill>
                <a:srgbClr val="000000"/>
              </a:solidFill>
              <a:effectLst/>
              <a:uLnTx/>
              <a:uFillTx/>
              <a:latin typeface="Calibri"/>
              <a:ea typeface="+mn-ea"/>
              <a:cs typeface="Calibri"/>
            </a:endParaRPr>
          </a:p>
        </p:txBody>
      </p:sp>
      <p:sp>
        <p:nvSpPr>
          <p:cNvPr id="8" name="Slide Number Placeholder 7">
            <a:extLst>
              <a:ext uri="{FF2B5EF4-FFF2-40B4-BE49-F238E27FC236}">
                <a16:creationId xmlns:a16="http://schemas.microsoft.com/office/drawing/2014/main" id="{030576BD-3E6B-4268-85FF-C3EDE4BB1D2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aphicFrame>
        <p:nvGraphicFramePr>
          <p:cNvPr id="12" name="Diagram 11" descr="list of unique scenarios that may require texas testing center support: juveline justive alternative education campus testing, homebound students without internet, emergency medical situations">
            <a:extLst>
              <a:ext uri="{FF2B5EF4-FFF2-40B4-BE49-F238E27FC236}">
                <a16:creationId xmlns:a16="http://schemas.microsoft.com/office/drawing/2014/main" id="{11AF7C1B-877A-764E-DA01-2EB476F14FF2}"/>
              </a:ext>
            </a:extLst>
          </p:cNvPr>
          <p:cNvGraphicFramePr/>
          <p:nvPr>
            <p:extLst>
              <p:ext uri="{D42A27DB-BD31-4B8C-83A1-F6EECF244321}">
                <p14:modId xmlns:p14="http://schemas.microsoft.com/office/powerpoint/2010/main" val="3424968907"/>
              </p:ext>
            </p:extLst>
          </p:nvPr>
        </p:nvGraphicFramePr>
        <p:xfrm>
          <a:off x="-797559" y="1910342"/>
          <a:ext cx="9654480" cy="30373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a:extLst>
              <a:ext uri="{FF2B5EF4-FFF2-40B4-BE49-F238E27FC236}">
                <a16:creationId xmlns:a16="http://schemas.microsoft.com/office/drawing/2014/main" id="{AAE029A4-97E4-F076-4B45-8ED358874E27}"/>
              </a:ext>
            </a:extLst>
          </p:cNvPr>
          <p:cNvSpPr txBox="1"/>
          <p:nvPr/>
        </p:nvSpPr>
        <p:spPr>
          <a:xfrm>
            <a:off x="7793665" y="2623231"/>
            <a:ext cx="3912781" cy="1384995"/>
          </a:xfrm>
          <a:prstGeom prst="rect">
            <a:avLst/>
          </a:prstGeom>
          <a:noFill/>
        </p:spPr>
        <p:txBody>
          <a:bodyPr wrap="square">
            <a:spAutoFit/>
          </a:bodyPr>
          <a:lstStyle/>
          <a:p>
            <a:pPr marL="457200" marR="0" lvl="1" indent="0" algn="ctr" defTabSz="914400" rtl="0" eaLnBrk="1" fontAlgn="auto" latinLnBrk="0" hangingPunct="1">
              <a:lnSpc>
                <a:spcPct val="100000"/>
              </a:lnSpc>
              <a:spcBef>
                <a:spcPts val="0"/>
              </a:spcBef>
              <a:spcAft>
                <a:spcPts val="0"/>
              </a:spcAft>
              <a:buClr>
                <a:srgbClr val="F16038"/>
              </a:buClr>
              <a:buSzTx/>
              <a:buFontTx/>
              <a:buNone/>
              <a:tabLst/>
              <a:defRPr/>
            </a:pPr>
            <a:r>
              <a:rPr kumimoji="0" lang="en-US" sz="2800" b="1" i="0" u="none" strike="noStrike" kern="1200" cap="none" spc="0" normalizeH="0" baseline="0" noProof="0">
                <a:ln>
                  <a:noFill/>
                </a:ln>
                <a:solidFill>
                  <a:srgbClr val="F16038"/>
                </a:solidFill>
                <a:effectLst/>
                <a:uLnTx/>
                <a:uFillTx/>
                <a:latin typeface="Calibri" panose="020F0502020204030204" pitchFamily="34" charset="0"/>
                <a:ea typeface="+mn-ea"/>
                <a:cs typeface="+mn-cs"/>
              </a:rPr>
              <a:t>Contact: </a:t>
            </a:r>
          </a:p>
          <a:p>
            <a:pPr marL="457200" marR="0" lvl="1" indent="0" algn="ctr" defTabSz="914400" rtl="0" eaLnBrk="1" fontAlgn="auto" latinLnBrk="0" hangingPunct="1">
              <a:lnSpc>
                <a:spcPct val="100000"/>
              </a:lnSpc>
              <a:spcBef>
                <a:spcPts val="0"/>
              </a:spcBef>
              <a:spcAft>
                <a:spcPts val="0"/>
              </a:spcAft>
              <a:buClr>
                <a:srgbClr val="F16038"/>
              </a:buClr>
              <a:buSzTx/>
              <a:buFontTx/>
              <a:buNone/>
              <a:tabLst/>
              <a:defRPr/>
            </a:pPr>
            <a:r>
              <a:rPr kumimoji="0" lang="en-US" sz="2800" b="1" i="0" u="none" strike="noStrike" kern="1200" cap="none" spc="0" normalizeH="0" baseline="0" noProof="0">
                <a:ln>
                  <a:noFill/>
                </a:ln>
                <a:solidFill>
                  <a:srgbClr val="F16038"/>
                </a:solidFill>
                <a:effectLst/>
                <a:uLnTx/>
                <a:uFillTx/>
                <a:latin typeface="Calibri" panose="020F0502020204030204" pitchFamily="34" charset="0"/>
                <a:ea typeface="+mn-ea"/>
                <a:cs typeface="+mn-cs"/>
              </a:rPr>
              <a:t>Texas Testing Support at 833-601-8821</a:t>
            </a:r>
            <a:endParaRPr kumimoji="0" lang="en-US" sz="4000" b="1" i="0" u="none" strike="noStrike" kern="1200" cap="none" spc="0" normalizeH="0" baseline="0" noProof="0">
              <a:ln>
                <a:noFill/>
              </a:ln>
              <a:solidFill>
                <a:srgbClr val="F16038"/>
              </a:solidFill>
              <a:effectLst/>
              <a:uLnTx/>
              <a:uFillTx/>
              <a:latin typeface="Calibri"/>
              <a:ea typeface="+mn-ea"/>
              <a:cs typeface="Calibri"/>
            </a:endParaRPr>
          </a:p>
        </p:txBody>
      </p:sp>
      <p:sp>
        <p:nvSpPr>
          <p:cNvPr id="15" name="Right Brace 14">
            <a:extLst>
              <a:ext uri="{FF2B5EF4-FFF2-40B4-BE49-F238E27FC236}">
                <a16:creationId xmlns:a16="http://schemas.microsoft.com/office/drawing/2014/main" id="{12C7C5B0-D5C7-2704-A1D5-9FC845D807B0}"/>
              </a:ext>
              <a:ext uri="{C183D7F6-B498-43B3-948B-1728B52AA6E4}">
                <adec:decorative xmlns:adec="http://schemas.microsoft.com/office/drawing/2017/decorative" val="1"/>
              </a:ext>
            </a:extLst>
          </p:cNvPr>
          <p:cNvSpPr/>
          <p:nvPr/>
        </p:nvSpPr>
        <p:spPr>
          <a:xfrm>
            <a:off x="7581014" y="2051878"/>
            <a:ext cx="659219" cy="2835541"/>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577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C3F27-B47B-4D56-BEBD-91E9F93B2D7C}"/>
              </a:ext>
            </a:extLst>
          </p:cNvPr>
          <p:cNvSpPr>
            <a:spLocks noGrp="1"/>
          </p:cNvSpPr>
          <p:nvPr>
            <p:ph type="title"/>
          </p:nvPr>
        </p:nvSpPr>
        <p:spPr>
          <a:xfrm>
            <a:off x="627657" y="160204"/>
            <a:ext cx="11121657" cy="751350"/>
          </a:xfrm>
        </p:spPr>
        <p:txBody>
          <a:bodyPr>
            <a:normAutofit/>
          </a:bodyPr>
          <a:lstStyle/>
          <a:p>
            <a:r>
              <a:rPr lang="en-US" dirty="0"/>
              <a:t>Requirements for Local Decision-Making Authorities</a:t>
            </a:r>
          </a:p>
        </p:txBody>
      </p:sp>
      <p:sp>
        <p:nvSpPr>
          <p:cNvPr id="11" name="TextBox 10">
            <a:extLst>
              <a:ext uri="{FF2B5EF4-FFF2-40B4-BE49-F238E27FC236}">
                <a16:creationId xmlns:a16="http://schemas.microsoft.com/office/drawing/2014/main" id="{A9C289AB-5955-4E37-A1C3-532ADF791538}"/>
              </a:ext>
            </a:extLst>
          </p:cNvPr>
          <p:cNvSpPr txBox="1"/>
          <p:nvPr/>
        </p:nvSpPr>
        <p:spPr>
          <a:xfrm>
            <a:off x="369953" y="1052945"/>
            <a:ext cx="4203187" cy="1384995"/>
          </a:xfrm>
          <a:prstGeom prst="rect">
            <a:avLst/>
          </a:prstGeom>
          <a:solidFill>
            <a:srgbClr val="0D6CB9"/>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Calibri" panose="020F0502020204030204"/>
                <a:ea typeface="+mn-ea"/>
                <a:cs typeface="+mn-cs"/>
              </a:rPr>
              <a:t>Annual Review and Dismissal (ARD) Committee</a:t>
            </a:r>
          </a:p>
        </p:txBody>
      </p:sp>
      <p:sp>
        <p:nvSpPr>
          <p:cNvPr id="4" name="TextBox 3">
            <a:extLst>
              <a:ext uri="{FF2B5EF4-FFF2-40B4-BE49-F238E27FC236}">
                <a16:creationId xmlns:a16="http://schemas.microsoft.com/office/drawing/2014/main" id="{1C3330BC-B4F3-4F5E-81E0-81C87BBED36B}"/>
              </a:ext>
            </a:extLst>
          </p:cNvPr>
          <p:cNvSpPr txBox="1"/>
          <p:nvPr/>
        </p:nvSpPr>
        <p:spPr>
          <a:xfrm>
            <a:off x="4660386" y="996609"/>
            <a:ext cx="7239000" cy="4847481"/>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200" b="0" i="0" u="none" strike="noStrike" kern="1200" cap="none" spc="0" normalizeH="0" baseline="0" noProof="0">
                <a:ln>
                  <a:noFill/>
                </a:ln>
                <a:solidFill>
                  <a:srgbClr val="0D6CB9"/>
                </a:solidFill>
                <a:effectLst/>
                <a:uLnTx/>
                <a:uFillTx/>
                <a:latin typeface="Calibri" panose="020F0502020204030204"/>
                <a:ea typeface="+mn-ea"/>
                <a:cs typeface="+mn-cs"/>
              </a:rPr>
              <a:t>The responsibilities of the ARD committee do not change simply because the state assessment accommodation policy has changed. The purpose of an IEP is to document current and correct information. Any part of that document that is no longer true and valid should be updated. </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endParaRPr kumimoji="0" lang="en-US" sz="2200" b="0" i="0" u="none" strike="noStrike" kern="1200" cap="none" spc="0" normalizeH="0" baseline="0" noProof="0">
              <a:ln>
                <a:noFill/>
              </a:ln>
              <a:solidFill>
                <a:srgbClr val="0D6CB9"/>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200" b="0" i="0" u="none" strike="noStrike" kern="1200" cap="none" spc="0" normalizeH="0" baseline="0" noProof="0">
                <a:ln>
                  <a:noFill/>
                </a:ln>
                <a:solidFill>
                  <a:srgbClr val="0D6CB9"/>
                </a:solidFill>
                <a:effectLst/>
                <a:uLnTx/>
                <a:uFillTx/>
                <a:latin typeface="Calibri" panose="020F0502020204030204"/>
                <a:ea typeface="+mn-ea"/>
                <a:cs typeface="+mn-cs"/>
              </a:rPr>
              <a:t>The ARD committee does not have to meet again regarding state assessment accommodations if decisions made at the annual meeting still apply to the current school year. </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endParaRPr kumimoji="0" lang="en-US" sz="2200" b="0" i="0" u="none" strike="noStrike" kern="1200" cap="none" spc="0" normalizeH="0" baseline="0" noProof="0">
              <a:ln>
                <a:noFill/>
              </a:ln>
              <a:solidFill>
                <a:srgbClr val="0D6CB9"/>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200" b="0" i="0" u="none" strike="noStrike" kern="1200" cap="none" spc="0" normalizeH="0" baseline="0" noProof="0">
                <a:ln>
                  <a:noFill/>
                </a:ln>
                <a:solidFill>
                  <a:srgbClr val="0D6CB9"/>
                </a:solidFill>
                <a:effectLst/>
                <a:uLnTx/>
                <a:uFillTx/>
                <a:latin typeface="Calibri" panose="020F0502020204030204"/>
                <a:ea typeface="+mn-ea"/>
                <a:cs typeface="+mn-cs"/>
              </a:rPr>
              <a:t>The ARD committee would need to meet again regarding state assessment accommodations if decisions made at the annual meeting do not apply to the current school year</a:t>
            </a:r>
            <a:r>
              <a:rPr kumimoji="0" lang="en-US" sz="2300" b="0" i="0" u="none" strike="noStrike" kern="1200" cap="none" spc="0" normalizeH="0" baseline="0" noProof="0">
                <a:ln>
                  <a:noFill/>
                </a:ln>
                <a:solidFill>
                  <a:srgbClr val="0D6CB9"/>
                </a:solidFill>
                <a:effectLst/>
                <a:uLnTx/>
                <a:uFillTx/>
                <a:latin typeface="Calibri" panose="020F0502020204030204"/>
                <a:ea typeface="+mn-ea"/>
                <a:cs typeface="+mn-cs"/>
              </a:rPr>
              <a:t>. </a:t>
            </a:r>
          </a:p>
        </p:txBody>
      </p:sp>
      <p:pic>
        <p:nvPicPr>
          <p:cNvPr id="10" name="Picture 9">
            <a:extLst>
              <a:ext uri="{FF2B5EF4-FFF2-40B4-BE49-F238E27FC236}">
                <a16:creationId xmlns:a16="http://schemas.microsoft.com/office/drawing/2014/main" id="{F782B5C7-F9A5-43C1-B292-2730F9A2799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953" y="2500745"/>
            <a:ext cx="4203187" cy="3345874"/>
          </a:xfrm>
          <a:prstGeom prst="rect">
            <a:avLst/>
          </a:prstGeom>
        </p:spPr>
      </p:pic>
      <p:sp>
        <p:nvSpPr>
          <p:cNvPr id="7" name="Slide Number Placeholder 6">
            <a:extLst>
              <a:ext uri="{FF2B5EF4-FFF2-40B4-BE49-F238E27FC236}">
                <a16:creationId xmlns:a16="http://schemas.microsoft.com/office/drawing/2014/main" id="{20C99852-2B91-4501-A464-E23740E07197}"/>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55824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C3F27-B47B-4D56-BEBD-91E9F93B2D7C}"/>
              </a:ext>
            </a:extLst>
          </p:cNvPr>
          <p:cNvSpPr>
            <a:spLocks noGrp="1"/>
          </p:cNvSpPr>
          <p:nvPr>
            <p:ph type="title"/>
          </p:nvPr>
        </p:nvSpPr>
        <p:spPr>
          <a:xfrm>
            <a:off x="627657" y="160204"/>
            <a:ext cx="11121657" cy="751350"/>
          </a:xfrm>
        </p:spPr>
        <p:txBody>
          <a:bodyPr>
            <a:normAutofit/>
          </a:bodyPr>
          <a:lstStyle/>
          <a:p>
            <a:r>
              <a:rPr lang="en-US" dirty="0"/>
              <a:t>Requirements for Local Decision-Making Authorities</a:t>
            </a:r>
          </a:p>
        </p:txBody>
      </p:sp>
      <p:sp>
        <p:nvSpPr>
          <p:cNvPr id="11" name="TextBox 10">
            <a:extLst>
              <a:ext uri="{FF2B5EF4-FFF2-40B4-BE49-F238E27FC236}">
                <a16:creationId xmlns:a16="http://schemas.microsoft.com/office/drawing/2014/main" id="{A9C289AB-5955-4E37-A1C3-532ADF791538}"/>
              </a:ext>
            </a:extLst>
          </p:cNvPr>
          <p:cNvSpPr txBox="1"/>
          <p:nvPr/>
        </p:nvSpPr>
        <p:spPr>
          <a:xfrm>
            <a:off x="369953" y="1052945"/>
            <a:ext cx="4203187" cy="1384995"/>
          </a:xfrm>
          <a:prstGeom prst="rect">
            <a:avLst/>
          </a:prstGeom>
          <a:solidFill>
            <a:srgbClr val="0D6CB9"/>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Calibri" panose="020F0502020204030204"/>
                <a:ea typeface="+mn-ea"/>
                <a:cs typeface="+mn-cs"/>
              </a:rPr>
              <a:t>Section 5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Calibri" panose="020F0502020204030204"/>
                <a:ea typeface="+mn-ea"/>
                <a:cs typeface="+mn-cs"/>
              </a:rPr>
              <a:t>Committe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27B86A37-7162-4995-B9F6-8F9E523747CC}"/>
              </a:ext>
            </a:extLst>
          </p:cNvPr>
          <p:cNvSpPr txBox="1"/>
          <p:nvPr/>
        </p:nvSpPr>
        <p:spPr>
          <a:xfrm>
            <a:off x="4639746" y="1322760"/>
            <a:ext cx="7288630" cy="4795159"/>
          </a:xfrm>
          <a:prstGeom prst="rect">
            <a:avLst/>
          </a:prstGeom>
          <a:noFill/>
        </p:spPr>
        <p:txBody>
          <a:bodyPr wrap="square">
            <a:spAutoFit/>
          </a:bodyPr>
          <a:lstStyle/>
          <a:p>
            <a:pPr marL="466725" marR="0" lvl="0" indent="-342900" algn="l" defTabSz="914400" rtl="0" eaLnBrk="1" fontAlgn="auto" latinLnBrk="0" hangingPunct="1">
              <a:lnSpc>
                <a:spcPct val="90000"/>
              </a:lnSpc>
              <a:spcBef>
                <a:spcPts val="1000"/>
              </a:spcBef>
              <a:spcAft>
                <a:spcPts val="0"/>
              </a:spcAft>
              <a:buClr>
                <a:srgbClr val="FF8134"/>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a:ea typeface="+mn-ea"/>
                <a:cs typeface="Calibri"/>
              </a:rPr>
              <a:t>Section 504 committee should ensure that a student's accommodation plan is current for the school year. </a:t>
            </a:r>
          </a:p>
          <a:p>
            <a:pPr marL="466725" marR="0" lvl="0" indent="-342900" algn="l" defTabSz="914400" rtl="0" eaLnBrk="1" fontAlgn="auto" latinLnBrk="0" hangingPunct="1">
              <a:lnSpc>
                <a:spcPct val="90000"/>
              </a:lnSpc>
              <a:spcBef>
                <a:spcPts val="1000"/>
              </a:spcBef>
              <a:spcAft>
                <a:spcPts val="0"/>
              </a:spcAft>
              <a:buClr>
                <a:srgbClr val="FF8134"/>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0D6CB9"/>
              </a:solidFill>
              <a:effectLst/>
              <a:uLnTx/>
              <a:uFillTx/>
              <a:latin typeface="Calibri"/>
              <a:ea typeface="+mn-ea"/>
              <a:cs typeface="Calibri"/>
            </a:endParaRPr>
          </a:p>
          <a:p>
            <a:pPr marL="466725" marR="0" lvl="0" indent="-342900" algn="l" defTabSz="914400" rtl="0" eaLnBrk="1" fontAlgn="auto" latinLnBrk="0" hangingPunct="1">
              <a:lnSpc>
                <a:spcPct val="90000"/>
              </a:lnSpc>
              <a:spcBef>
                <a:spcPts val="1000"/>
              </a:spcBef>
              <a:spcAft>
                <a:spcPts val="0"/>
              </a:spcAft>
              <a:buClr>
                <a:srgbClr val="FF8134"/>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a:ea typeface="+mn-ea"/>
                <a:cs typeface="Calibri"/>
              </a:rPr>
              <a:t>If the documented designated supports in place for the student are still valid, there is no reason to meet again. </a:t>
            </a:r>
          </a:p>
          <a:p>
            <a:pPr marL="466725" marR="0" lvl="0" indent="-342900" algn="l" defTabSz="914400" rtl="0" eaLnBrk="1" fontAlgn="auto" latinLnBrk="0" hangingPunct="1">
              <a:lnSpc>
                <a:spcPct val="90000"/>
              </a:lnSpc>
              <a:spcBef>
                <a:spcPts val="1000"/>
              </a:spcBef>
              <a:spcAft>
                <a:spcPts val="0"/>
              </a:spcAft>
              <a:buClr>
                <a:srgbClr val="FF8134"/>
              </a:buClr>
              <a:buSzTx/>
              <a:buFont typeface="Wingdings" panose="05000000000000000000" pitchFamily="2" charset="2"/>
              <a:buChar char="§"/>
              <a:tabLst/>
              <a:defRPr/>
            </a:pPr>
            <a:endParaRPr kumimoji="0" lang="en-US" sz="2400" b="0" i="0" u="none" strike="noStrike" kern="1200" cap="none" spc="0" normalizeH="0" baseline="0" noProof="0">
              <a:ln>
                <a:noFill/>
              </a:ln>
              <a:solidFill>
                <a:srgbClr val="0D6CB9"/>
              </a:solidFill>
              <a:effectLst/>
              <a:uLnTx/>
              <a:uFillTx/>
              <a:latin typeface="Calibri"/>
              <a:ea typeface="+mn-ea"/>
              <a:cs typeface="Calibri"/>
            </a:endParaRPr>
          </a:p>
          <a:p>
            <a:pPr marL="466725" marR="0" lvl="0" indent="-342900" algn="l" defTabSz="914400" rtl="0" eaLnBrk="1" fontAlgn="auto" latinLnBrk="0" hangingPunct="1">
              <a:lnSpc>
                <a:spcPct val="90000"/>
              </a:lnSpc>
              <a:spcBef>
                <a:spcPts val="1000"/>
              </a:spcBef>
              <a:spcAft>
                <a:spcPts val="0"/>
              </a:spcAft>
              <a:buClr>
                <a:srgbClr val="FF8134"/>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a:ea typeface="+mn-ea"/>
                <a:cs typeface="Calibri"/>
              </a:rPr>
              <a:t>If the documented designated supports in place for the student are not valid, this should be corrected.</a:t>
            </a:r>
          </a:p>
          <a:p>
            <a:pPr marL="123825" marR="0" lvl="0" indent="0" algn="l" defTabSz="914400" rtl="0" eaLnBrk="1" fontAlgn="auto" latinLnBrk="0" hangingPunct="1">
              <a:lnSpc>
                <a:spcPct val="90000"/>
              </a:lnSpc>
              <a:spcBef>
                <a:spcPts val="1000"/>
              </a:spcBef>
              <a:spcAft>
                <a:spcPts val="0"/>
              </a:spcAft>
              <a:buClr>
                <a:srgbClr val="FF8134"/>
              </a:buClr>
              <a:buSzTx/>
              <a:buFontTx/>
              <a:buNone/>
              <a:tabLst/>
              <a:defRPr/>
            </a:pPr>
            <a:endParaRPr kumimoji="0" lang="en-US" sz="2200" b="0" i="0" u="none" strike="noStrike" kern="1200" cap="none" spc="0" normalizeH="0" baseline="0" noProof="0">
              <a:ln>
                <a:noFill/>
              </a:ln>
              <a:solidFill>
                <a:srgbClr val="000000"/>
              </a:solidFill>
              <a:effectLst/>
              <a:uLnTx/>
              <a:uFillTx/>
              <a:latin typeface="Calibri"/>
              <a:ea typeface="+mn-ea"/>
              <a:cs typeface="Calibri"/>
            </a:endParaRPr>
          </a:p>
          <a:p>
            <a:pPr marL="123825" marR="0" lvl="0" indent="0" algn="l" defTabSz="914400" rtl="0" eaLnBrk="1" fontAlgn="auto" latinLnBrk="0" hangingPunct="1">
              <a:lnSpc>
                <a:spcPct val="90000"/>
              </a:lnSpc>
              <a:spcBef>
                <a:spcPts val="1000"/>
              </a:spcBef>
              <a:spcAft>
                <a:spcPts val="0"/>
              </a:spcAft>
              <a:buClr>
                <a:srgbClr val="FF8134"/>
              </a:buClr>
              <a:buSzTx/>
              <a:buFontTx/>
              <a:buNone/>
              <a:tabLst/>
              <a:defRPr/>
            </a:pPr>
            <a:endParaRPr kumimoji="0" lang="en-US" sz="2200" b="0" i="0" u="none" strike="noStrike" kern="1200" cap="none" spc="0" normalizeH="0" baseline="0" noProof="0">
              <a:ln>
                <a:noFill/>
              </a:ln>
              <a:solidFill>
                <a:srgbClr val="000000"/>
              </a:solidFill>
              <a:effectLst/>
              <a:uLnTx/>
              <a:uFillTx/>
              <a:latin typeface="Calibri"/>
              <a:ea typeface="+mn-ea"/>
              <a:cs typeface="Calibri"/>
            </a:endParaRPr>
          </a:p>
        </p:txBody>
      </p:sp>
      <p:pic>
        <p:nvPicPr>
          <p:cNvPr id="14" name="Picture 13">
            <a:extLst>
              <a:ext uri="{FF2B5EF4-FFF2-40B4-BE49-F238E27FC236}">
                <a16:creationId xmlns:a16="http://schemas.microsoft.com/office/drawing/2014/main" id="{DA280776-8015-4B99-A7E5-8753EDC5297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953" y="2502671"/>
            <a:ext cx="4200908" cy="3367115"/>
          </a:xfrm>
          <a:prstGeom prst="rect">
            <a:avLst/>
          </a:prstGeom>
        </p:spPr>
      </p:pic>
      <p:sp>
        <p:nvSpPr>
          <p:cNvPr id="6" name="Slide Number Placeholder 5">
            <a:extLst>
              <a:ext uri="{FF2B5EF4-FFF2-40B4-BE49-F238E27FC236}">
                <a16:creationId xmlns:a16="http://schemas.microsoft.com/office/drawing/2014/main" id="{F9BD5D5F-25DD-4B32-803C-EDBA53349DC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92109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C3F27-B47B-4D56-BEBD-91E9F93B2D7C}"/>
              </a:ext>
            </a:extLst>
          </p:cNvPr>
          <p:cNvSpPr>
            <a:spLocks noGrp="1"/>
          </p:cNvSpPr>
          <p:nvPr>
            <p:ph type="title"/>
          </p:nvPr>
        </p:nvSpPr>
        <p:spPr>
          <a:xfrm>
            <a:off x="627657" y="160204"/>
            <a:ext cx="11121657" cy="751350"/>
          </a:xfrm>
        </p:spPr>
        <p:txBody>
          <a:bodyPr>
            <a:normAutofit/>
          </a:bodyPr>
          <a:lstStyle/>
          <a:p>
            <a:r>
              <a:rPr lang="en-US" dirty="0"/>
              <a:t>Requirements for Local Decision-Making Authorities</a:t>
            </a:r>
          </a:p>
        </p:txBody>
      </p:sp>
      <p:sp>
        <p:nvSpPr>
          <p:cNvPr id="11" name="TextBox 10">
            <a:extLst>
              <a:ext uri="{FF2B5EF4-FFF2-40B4-BE49-F238E27FC236}">
                <a16:creationId xmlns:a16="http://schemas.microsoft.com/office/drawing/2014/main" id="{A9C289AB-5955-4E37-A1C3-532ADF791538}"/>
              </a:ext>
            </a:extLst>
          </p:cNvPr>
          <p:cNvSpPr txBox="1"/>
          <p:nvPr/>
        </p:nvSpPr>
        <p:spPr>
          <a:xfrm>
            <a:off x="369953" y="1052945"/>
            <a:ext cx="4203187" cy="1384995"/>
          </a:xfrm>
          <a:prstGeom prst="rect">
            <a:avLst/>
          </a:prstGeom>
          <a:solidFill>
            <a:srgbClr val="0D6CB9"/>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Calibri" panose="020F0502020204030204"/>
                <a:ea typeface="+mn-ea"/>
                <a:cs typeface="+mn-cs"/>
              </a:rPr>
              <a:t>Response to Intervention (</a:t>
            </a:r>
            <a:r>
              <a:rPr kumimoji="0" lang="en-US" sz="2800" b="1" i="0" u="none" strike="noStrike" kern="1200" cap="none" spc="0" normalizeH="0" baseline="0" noProof="0" err="1">
                <a:ln>
                  <a:noFill/>
                </a:ln>
                <a:solidFill>
                  <a:prstClr val="white"/>
                </a:solidFill>
                <a:effectLst/>
                <a:uLnTx/>
                <a:uFillTx/>
                <a:latin typeface="Calibri" panose="020F0502020204030204"/>
                <a:ea typeface="+mn-ea"/>
                <a:cs typeface="+mn-cs"/>
              </a:rPr>
              <a:t>RtI</a:t>
            </a:r>
            <a:r>
              <a:rPr kumimoji="0" lang="en-US" sz="2800" b="1" i="0" u="none" strike="noStrike" kern="1200" cap="none" spc="0" normalizeH="0" baseline="0" noProof="0">
                <a:ln>
                  <a:noFill/>
                </a:ln>
                <a:solidFill>
                  <a:prstClr val="white"/>
                </a:solidFill>
                <a:effectLst/>
                <a:uLnTx/>
                <a:uFillTx/>
                <a:latin typeface="Calibri" panose="020F0502020204030204"/>
                <a:ea typeface="+mn-ea"/>
                <a:cs typeface="+mn-cs"/>
              </a:rPr>
              <a:t>) and Similar Student Support Teams</a:t>
            </a:r>
          </a:p>
        </p:txBody>
      </p:sp>
      <p:pic>
        <p:nvPicPr>
          <p:cNvPr id="6" name="Picture 5">
            <a:extLst>
              <a:ext uri="{FF2B5EF4-FFF2-40B4-BE49-F238E27FC236}">
                <a16:creationId xmlns:a16="http://schemas.microsoft.com/office/drawing/2014/main" id="{FEC11A8A-BCA9-415E-80A4-135C41A13C5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952" y="2500745"/>
            <a:ext cx="4203187" cy="3449783"/>
          </a:xfrm>
          <a:prstGeom prst="rect">
            <a:avLst/>
          </a:prstGeom>
        </p:spPr>
      </p:pic>
      <p:sp>
        <p:nvSpPr>
          <p:cNvPr id="12" name="TextBox 11">
            <a:extLst>
              <a:ext uri="{FF2B5EF4-FFF2-40B4-BE49-F238E27FC236}">
                <a16:creationId xmlns:a16="http://schemas.microsoft.com/office/drawing/2014/main" id="{2BC0EAF5-1099-4F40-A7D9-055953CB19D4}"/>
              </a:ext>
            </a:extLst>
          </p:cNvPr>
          <p:cNvSpPr txBox="1"/>
          <p:nvPr/>
        </p:nvSpPr>
        <p:spPr>
          <a:xfrm>
            <a:off x="4570861" y="1005274"/>
            <a:ext cx="6997683" cy="5319405"/>
          </a:xfrm>
          <a:prstGeom prst="rect">
            <a:avLst/>
          </a:prstGeom>
          <a:noFill/>
        </p:spPr>
        <p:txBody>
          <a:bodyPr wrap="square" lIns="91440" tIns="45720" rIns="91440" bIns="45720" anchor="t">
            <a:spAutoFit/>
          </a:bodyPr>
          <a:lstStyle/>
          <a:p>
            <a:pPr marL="581025" marR="0" lvl="0" indent="-457200" algn="l" defTabSz="914400" rtl="0" eaLnBrk="1" fontAlgn="auto" latinLnBrk="0" hangingPunct="1">
              <a:lnSpc>
                <a:spcPct val="90000"/>
              </a:lnSpc>
              <a:spcBef>
                <a:spcPts val="1000"/>
              </a:spcBef>
              <a:spcAft>
                <a:spcPts val="0"/>
              </a:spcAft>
              <a:buClr>
                <a:srgbClr val="FF8134"/>
              </a:buClr>
              <a:buSzTx/>
              <a:buFont typeface="Wingdings" panose="05000000000000000000" pitchFamily="2" charset="2"/>
              <a:buChar char="§"/>
              <a:tabLst/>
              <a:defRPr/>
            </a:pPr>
            <a:r>
              <a:rPr kumimoji="0" lang="en-US" sz="2800" b="0" i="0" u="none" strike="noStrike" kern="1200" cap="none" spc="0" normalizeH="0" baseline="0" noProof="0">
                <a:ln>
                  <a:noFill/>
                </a:ln>
                <a:solidFill>
                  <a:srgbClr val="0D6CB9"/>
                </a:solidFill>
                <a:effectLst/>
                <a:uLnTx/>
                <a:uFillTx/>
                <a:latin typeface="Calibri" panose="020F0502020204030204"/>
                <a:ea typeface="+mn-ea"/>
                <a:cs typeface="Calibri"/>
              </a:rPr>
              <a:t>Depending on local policies for these committees (i.e., what time of year they meet): </a:t>
            </a:r>
          </a:p>
          <a:p>
            <a:pPr marL="123825" marR="0" lvl="0" indent="0" algn="l" defTabSz="914400" rtl="0" eaLnBrk="1" fontAlgn="auto" latinLnBrk="0" hangingPunct="1">
              <a:lnSpc>
                <a:spcPct val="90000"/>
              </a:lnSpc>
              <a:spcBef>
                <a:spcPts val="1000"/>
              </a:spcBef>
              <a:spcAft>
                <a:spcPts val="0"/>
              </a:spcAft>
              <a:buClr>
                <a:srgbClr val="FF8134"/>
              </a:buClr>
              <a:buSzTx/>
              <a:buFontTx/>
              <a:buNone/>
              <a:tabLst/>
              <a:defRPr/>
            </a:pPr>
            <a:endParaRPr kumimoji="0" lang="en-US" sz="1000" b="0" i="0" u="none" strike="noStrike" kern="1200" cap="none" spc="0" normalizeH="0" baseline="0" noProof="0">
              <a:ln>
                <a:noFill/>
              </a:ln>
              <a:solidFill>
                <a:srgbClr val="0D6CB9"/>
              </a:solidFill>
              <a:effectLst/>
              <a:uLnTx/>
              <a:uFillTx/>
              <a:latin typeface="Calibri" panose="020F0502020204030204"/>
              <a:ea typeface="+mn-ea"/>
              <a:cs typeface="Calibri"/>
            </a:endParaRPr>
          </a:p>
          <a:p>
            <a:pPr marL="1038225" marR="0" lvl="1" indent="-457200" algn="l" defTabSz="914400" rtl="0" eaLnBrk="1" fontAlgn="auto" latinLnBrk="0" hangingPunct="1">
              <a:lnSpc>
                <a:spcPct val="90000"/>
              </a:lnSpc>
              <a:spcBef>
                <a:spcPts val="1000"/>
              </a:spcBef>
              <a:spcAft>
                <a:spcPts val="0"/>
              </a:spcAft>
              <a:buClr>
                <a:srgbClr val="FF8134"/>
              </a:buClr>
              <a:buSzTx/>
              <a:buFont typeface="Wingdings" panose="05000000000000000000" pitchFamily="2" charset="2"/>
              <a:buChar char="§"/>
              <a:tabLst/>
              <a:defRPr/>
            </a:pPr>
            <a:r>
              <a:rPr kumimoji="0" lang="en-US" sz="2800" b="0" i="0" u="none" strike="noStrike" kern="1200" cap="none" spc="0" normalizeH="0" baseline="0" noProof="0">
                <a:ln>
                  <a:noFill/>
                </a:ln>
                <a:solidFill>
                  <a:srgbClr val="0D6CB9"/>
                </a:solidFill>
                <a:effectLst/>
                <a:uLnTx/>
                <a:uFillTx/>
                <a:latin typeface="Calibri" panose="020F0502020204030204"/>
                <a:ea typeface="+mn-ea"/>
                <a:cs typeface="Calibri"/>
              </a:rPr>
              <a:t>If the documented designated supports in place for the student are still valid, there is no reason to meet again.  </a:t>
            </a:r>
          </a:p>
          <a:p>
            <a:pPr marL="123825" marR="0" lvl="0" indent="0" algn="l" defTabSz="914400" rtl="0" eaLnBrk="1" fontAlgn="auto" latinLnBrk="0" hangingPunct="1">
              <a:lnSpc>
                <a:spcPct val="90000"/>
              </a:lnSpc>
              <a:spcBef>
                <a:spcPts val="1000"/>
              </a:spcBef>
              <a:spcAft>
                <a:spcPts val="0"/>
              </a:spcAft>
              <a:buClr>
                <a:srgbClr val="FF8134"/>
              </a:buClr>
              <a:buSzTx/>
              <a:buFontTx/>
              <a:buNone/>
              <a:tabLst/>
              <a:defRPr/>
            </a:pPr>
            <a:endParaRPr kumimoji="0" lang="en-US" sz="1000" b="0" i="0" u="none" strike="noStrike" kern="1200" cap="none" spc="0" normalizeH="0" baseline="0" noProof="0">
              <a:ln>
                <a:noFill/>
              </a:ln>
              <a:solidFill>
                <a:srgbClr val="0D6CB9"/>
              </a:solidFill>
              <a:effectLst/>
              <a:uLnTx/>
              <a:uFillTx/>
              <a:latin typeface="Calibri" panose="020F0502020204030204"/>
              <a:ea typeface="+mn-ea"/>
              <a:cs typeface="Calibri"/>
            </a:endParaRPr>
          </a:p>
          <a:p>
            <a:pPr marL="1038225" marR="0" lvl="1" indent="-457200" algn="l" defTabSz="914400" rtl="0" eaLnBrk="1" fontAlgn="auto" latinLnBrk="0" hangingPunct="1">
              <a:lnSpc>
                <a:spcPct val="90000"/>
              </a:lnSpc>
              <a:spcBef>
                <a:spcPts val="1000"/>
              </a:spcBef>
              <a:spcAft>
                <a:spcPts val="0"/>
              </a:spcAft>
              <a:buClr>
                <a:srgbClr val="FF8134"/>
              </a:buClr>
              <a:buSzTx/>
              <a:buFont typeface="Wingdings" panose="05000000000000000000" pitchFamily="2" charset="2"/>
              <a:buChar char="§"/>
              <a:tabLst/>
              <a:defRPr/>
            </a:pPr>
            <a:r>
              <a:rPr kumimoji="0" lang="en-US" sz="2800" b="0" i="0" u="none" strike="noStrike" kern="1200" cap="none" spc="0" normalizeH="0" baseline="0" noProof="0">
                <a:ln>
                  <a:noFill/>
                </a:ln>
                <a:solidFill>
                  <a:srgbClr val="0D6CB9"/>
                </a:solidFill>
                <a:effectLst/>
                <a:uLnTx/>
                <a:uFillTx/>
                <a:latin typeface="Calibri" panose="020F0502020204030204"/>
                <a:ea typeface="+mn-ea"/>
                <a:cs typeface="Calibri"/>
              </a:rPr>
              <a:t>If the documented designated supports in place for the student are not valid, this should be corrected.</a:t>
            </a:r>
          </a:p>
          <a:p>
            <a:pPr marL="628650" marR="0" lvl="0" indent="-342900" algn="l" defTabSz="914400" rtl="0" eaLnBrk="1" fontAlgn="auto" latinLnBrk="0" hangingPunct="1">
              <a:lnSpc>
                <a:spcPct val="100000"/>
              </a:lnSpc>
              <a:spcBef>
                <a:spcPts val="1000"/>
              </a:spcBef>
              <a:spcAft>
                <a:spcPts val="0"/>
              </a:spcAft>
              <a:buClr>
                <a:srgbClr val="FF8134"/>
              </a:buClr>
              <a:buSzTx/>
              <a:buFont typeface="Wingdings" panose="05000000000000000000" pitchFamily="2" charset="2"/>
              <a:buChar char="§"/>
              <a:tabLst/>
              <a:defRPr/>
            </a:pPr>
            <a:endParaRPr kumimoji="0" lang="en-US" sz="2800" b="0" i="0" u="none" strike="noStrike" kern="1200" cap="none" spc="0" normalizeH="0" baseline="0" noProof="0">
              <a:ln>
                <a:noFill/>
              </a:ln>
              <a:solidFill>
                <a:srgbClr val="000000"/>
              </a:solidFill>
              <a:effectLst/>
              <a:uLnTx/>
              <a:uFillTx/>
              <a:latin typeface="Calibri" charset="0"/>
              <a:ea typeface="+mn-ea"/>
              <a:cs typeface="Calibri" charset="0"/>
            </a:endParaRPr>
          </a:p>
        </p:txBody>
      </p:sp>
      <p:sp>
        <p:nvSpPr>
          <p:cNvPr id="7" name="Slide Number Placeholder 6">
            <a:extLst>
              <a:ext uri="{FF2B5EF4-FFF2-40B4-BE49-F238E27FC236}">
                <a16:creationId xmlns:a16="http://schemas.microsoft.com/office/drawing/2014/main" id="{7BB356A3-4BE5-407E-A38F-34AE5F928015}"/>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04083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C3F27-B47B-4D56-BEBD-91E9F93B2D7C}"/>
              </a:ext>
            </a:extLst>
          </p:cNvPr>
          <p:cNvSpPr>
            <a:spLocks noGrp="1"/>
          </p:cNvSpPr>
          <p:nvPr>
            <p:ph type="title"/>
          </p:nvPr>
        </p:nvSpPr>
        <p:spPr>
          <a:xfrm>
            <a:off x="627657" y="160204"/>
            <a:ext cx="11121657" cy="751350"/>
          </a:xfrm>
        </p:spPr>
        <p:txBody>
          <a:bodyPr>
            <a:normAutofit/>
          </a:bodyPr>
          <a:lstStyle/>
          <a:p>
            <a:r>
              <a:rPr lang="en-US" dirty="0"/>
              <a:t>Requirements for Local Decision-Making Authorities</a:t>
            </a:r>
          </a:p>
        </p:txBody>
      </p:sp>
      <p:sp>
        <p:nvSpPr>
          <p:cNvPr id="11" name="TextBox 10">
            <a:extLst>
              <a:ext uri="{FF2B5EF4-FFF2-40B4-BE49-F238E27FC236}">
                <a16:creationId xmlns:a16="http://schemas.microsoft.com/office/drawing/2014/main" id="{A9C289AB-5955-4E37-A1C3-532ADF791538}"/>
              </a:ext>
            </a:extLst>
          </p:cNvPr>
          <p:cNvSpPr txBox="1"/>
          <p:nvPr/>
        </p:nvSpPr>
        <p:spPr>
          <a:xfrm>
            <a:off x="369953" y="1052945"/>
            <a:ext cx="4203187" cy="1384995"/>
          </a:xfrm>
          <a:prstGeom prst="rect">
            <a:avLst/>
          </a:prstGeom>
          <a:solidFill>
            <a:srgbClr val="0D6CB9"/>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Calibri" panose="020F0502020204030204"/>
                <a:ea typeface="+mn-ea"/>
                <a:cs typeface="+mn-cs"/>
              </a:rPr>
              <a:t>Language Proficiency Assessment Committee (LPAC)</a:t>
            </a:r>
          </a:p>
        </p:txBody>
      </p:sp>
      <p:sp>
        <p:nvSpPr>
          <p:cNvPr id="12" name="TextBox 11">
            <a:extLst>
              <a:ext uri="{FF2B5EF4-FFF2-40B4-BE49-F238E27FC236}">
                <a16:creationId xmlns:a16="http://schemas.microsoft.com/office/drawing/2014/main" id="{2BC0EAF5-1099-4F40-A7D9-055953CB19D4}"/>
              </a:ext>
            </a:extLst>
          </p:cNvPr>
          <p:cNvSpPr txBox="1"/>
          <p:nvPr/>
        </p:nvSpPr>
        <p:spPr>
          <a:xfrm>
            <a:off x="4617721" y="1053991"/>
            <a:ext cx="7336154" cy="4832092"/>
          </a:xfrm>
          <a:prstGeom prst="rect">
            <a:avLst/>
          </a:prstGeom>
          <a:noFill/>
        </p:spPr>
        <p:txBody>
          <a:bodyPr wrap="square" lIns="91440" tIns="45720" rIns="91440" bIns="45720" anchor="t">
            <a:spAutoFit/>
          </a:bodyPr>
          <a:lstStyle/>
          <a:p>
            <a:pPr marL="628650" marR="0" lvl="0" indent="-342900" algn="l" defTabSz="914400" rtl="0" eaLnBrk="1" fontAlgn="auto" latinLnBrk="0" hangingPunct="1">
              <a:lnSpc>
                <a:spcPct val="100000"/>
              </a:lnSpc>
              <a:spcBef>
                <a:spcPts val="1000"/>
              </a:spcBef>
              <a:spcAft>
                <a:spcPts val="0"/>
              </a:spcAft>
              <a:buClr>
                <a:srgbClr val="FF8134"/>
              </a:buClr>
              <a:buSzTx/>
              <a:buFont typeface="Wingdings" panose="05000000000000000000" pitchFamily="2" charset="2"/>
              <a:buChar char="§"/>
              <a:tabLst/>
              <a:defRPr/>
            </a:pPr>
            <a:r>
              <a:rPr kumimoji="0" lang="en-US" sz="2200" b="0" i="0" u="none" strike="noStrike" kern="1200" cap="none" spc="0" normalizeH="0" baseline="0" noProof="0">
                <a:ln>
                  <a:noFill/>
                </a:ln>
                <a:solidFill>
                  <a:srgbClr val="0D6CB9"/>
                </a:solidFill>
                <a:effectLst/>
                <a:uLnTx/>
                <a:uFillTx/>
                <a:latin typeface="Calibri"/>
                <a:ea typeface="+mn-ea"/>
                <a:cs typeface="Calibri"/>
              </a:rPr>
              <a:t>Designated supports decisions should be made as close as possible to the assessment to account for students' progress in acquiring the English language. </a:t>
            </a:r>
          </a:p>
          <a:p>
            <a:pPr marL="628650" marR="0" lvl="0" indent="-342900" algn="l" defTabSz="914400" rtl="0" eaLnBrk="1" fontAlgn="auto" latinLnBrk="0" hangingPunct="1">
              <a:lnSpc>
                <a:spcPct val="100000"/>
              </a:lnSpc>
              <a:spcBef>
                <a:spcPts val="0"/>
              </a:spcBef>
              <a:spcAft>
                <a:spcPts val="0"/>
              </a:spcAft>
              <a:buClr>
                <a:srgbClr val="FF8134"/>
              </a:buClr>
              <a:buSzTx/>
              <a:buFont typeface="Wingdings" panose="05000000000000000000" pitchFamily="2" charset="2"/>
              <a:buChar char="§"/>
              <a:tabLst/>
              <a:defRPr/>
            </a:pPr>
            <a:r>
              <a:rPr kumimoji="0" lang="en-US" sz="2200" b="0" i="0" u="none" strike="noStrike" kern="1200" cap="none" spc="0" normalizeH="0" baseline="0" noProof="0">
                <a:ln>
                  <a:noFill/>
                </a:ln>
                <a:solidFill>
                  <a:srgbClr val="0D6CB9"/>
                </a:solidFill>
                <a:effectLst/>
                <a:uLnTx/>
                <a:uFillTx/>
                <a:latin typeface="Calibri"/>
                <a:ea typeface="+mn-ea"/>
                <a:cs typeface="Calibri"/>
              </a:rPr>
              <a:t>Making a determination for a student the previous year may not take into account this progress and must be revisited. </a:t>
            </a:r>
            <a:endParaRPr kumimoji="0" lang="en-US" sz="2200" b="0" i="0" u="none" strike="noStrike" kern="1200" cap="none" spc="0" normalizeH="0" baseline="0" noProof="0">
              <a:ln>
                <a:noFill/>
              </a:ln>
              <a:solidFill>
                <a:srgbClr val="0D6CB9"/>
              </a:solidFill>
              <a:effectLst/>
              <a:uLnTx/>
              <a:uFillTx/>
              <a:latin typeface="Calibri" charset="0"/>
              <a:ea typeface="+mn-ea"/>
              <a:cs typeface="Calibri" charset="0"/>
            </a:endParaRPr>
          </a:p>
          <a:p>
            <a:pPr marL="628650" marR="0" lvl="0" indent="-342900" algn="l" defTabSz="914400" rtl="0" eaLnBrk="1" fontAlgn="auto" latinLnBrk="0" hangingPunct="1">
              <a:lnSpc>
                <a:spcPct val="100000"/>
              </a:lnSpc>
              <a:spcBef>
                <a:spcPts val="0"/>
              </a:spcBef>
              <a:spcAft>
                <a:spcPts val="0"/>
              </a:spcAft>
              <a:buClr>
                <a:srgbClr val="FF8134"/>
              </a:buClr>
              <a:buSzTx/>
              <a:buFont typeface="Wingdings" panose="05000000000000000000" pitchFamily="2" charset="2"/>
              <a:buChar char="§"/>
              <a:tabLst/>
              <a:defRPr/>
            </a:pPr>
            <a:r>
              <a:rPr kumimoji="0" lang="en-US" sz="2200" b="0" i="0" u="none" strike="noStrike" kern="1200" cap="none" spc="0" normalizeH="0" baseline="0" noProof="0">
                <a:ln>
                  <a:noFill/>
                </a:ln>
                <a:solidFill>
                  <a:srgbClr val="0D6CB9"/>
                </a:solidFill>
                <a:effectLst/>
                <a:uLnTx/>
                <a:uFillTx/>
                <a:latin typeface="Calibri"/>
                <a:ea typeface="Calibri"/>
                <a:cs typeface="Calibri"/>
              </a:rPr>
              <a:t>For students testing in English, the LPAC has sole authority for decisions related to Oral Administration and Content and Language Supports. </a:t>
            </a:r>
            <a:endParaRPr kumimoji="0" lang="en-US" sz="2200" b="0" i="0" u="none" strike="noStrike" kern="1200" cap="none" spc="0" normalizeH="0" baseline="0" noProof="0">
              <a:ln>
                <a:noFill/>
              </a:ln>
              <a:solidFill>
                <a:srgbClr val="0D6CB9"/>
              </a:solidFill>
              <a:effectLst/>
              <a:uLnTx/>
              <a:uFillTx/>
              <a:latin typeface="Calibri" charset="0"/>
              <a:ea typeface="Calibri"/>
              <a:cs typeface="Calibri" charset="0"/>
            </a:endParaRPr>
          </a:p>
          <a:p>
            <a:pPr marL="628650" marR="0" lvl="0" indent="-342900" algn="l" defTabSz="914400" rtl="0" eaLnBrk="1" fontAlgn="auto" latinLnBrk="0" hangingPunct="1">
              <a:lnSpc>
                <a:spcPct val="100000"/>
              </a:lnSpc>
              <a:spcBef>
                <a:spcPts val="0"/>
              </a:spcBef>
              <a:spcAft>
                <a:spcPts val="0"/>
              </a:spcAft>
              <a:buClr>
                <a:srgbClr val="FF8134"/>
              </a:buClr>
              <a:buSzTx/>
              <a:buFont typeface="Wingdings" panose="05000000000000000000" pitchFamily="2" charset="2"/>
              <a:buChar char="§"/>
              <a:tabLst/>
              <a:defRPr/>
            </a:pPr>
            <a:r>
              <a:rPr kumimoji="0" lang="en-US" sz="2200" b="0" i="0" u="none" strike="noStrike" kern="1200" cap="none" spc="0" normalizeH="0" baseline="0" noProof="0">
                <a:ln>
                  <a:noFill/>
                </a:ln>
                <a:solidFill>
                  <a:srgbClr val="0D6CB9"/>
                </a:solidFill>
                <a:effectLst/>
                <a:uLnTx/>
                <a:uFillTx/>
                <a:latin typeface="Calibri"/>
                <a:ea typeface="+mn-ea"/>
                <a:cs typeface="Calibri"/>
              </a:rPr>
              <a:t>For students testing in Spanish, the LPAC has restricted authority for decisions limited to Oral Administration and Content and Language Supports. Decisions must be made in conjunction with another committee. </a:t>
            </a:r>
            <a:endParaRPr kumimoji="0" lang="en-US" sz="2200" b="0" i="0" u="none" strike="noStrike" kern="1200" cap="none" spc="0" normalizeH="0" baseline="0" noProof="0">
              <a:ln>
                <a:noFill/>
              </a:ln>
              <a:solidFill>
                <a:srgbClr val="0D6CB9"/>
              </a:solidFill>
              <a:effectLst/>
              <a:uLnTx/>
              <a:uFillTx/>
              <a:latin typeface="Calibri"/>
              <a:ea typeface="Calibri"/>
              <a:cs typeface="Calibri"/>
            </a:endParaRPr>
          </a:p>
        </p:txBody>
      </p:sp>
      <p:pic>
        <p:nvPicPr>
          <p:cNvPr id="14" name="Picture 13">
            <a:hlinkClick r:id="rId3"/>
            <a:extLst>
              <a:ext uri="{FF2B5EF4-FFF2-40B4-BE49-F238E27FC236}">
                <a16:creationId xmlns:a16="http://schemas.microsoft.com/office/drawing/2014/main" id="{E91267CE-DD42-4497-9B65-8122C238A63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7839" y="2579331"/>
            <a:ext cx="4167414" cy="3378784"/>
          </a:xfrm>
          <a:prstGeom prst="rect">
            <a:avLst/>
          </a:prstGeom>
        </p:spPr>
      </p:pic>
      <p:sp>
        <p:nvSpPr>
          <p:cNvPr id="6" name="Slide Number Placeholder 5">
            <a:extLst>
              <a:ext uri="{FF2B5EF4-FFF2-40B4-BE49-F238E27FC236}">
                <a16:creationId xmlns:a16="http://schemas.microsoft.com/office/drawing/2014/main" id="{A3390CA3-40DA-4381-85F8-4131DEF34DBE}"/>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83982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D4D2A-DEDE-4D99-BC9A-B7BF76068121}"/>
              </a:ext>
            </a:extLst>
          </p:cNvPr>
          <p:cNvSpPr>
            <a:spLocks noGrp="1"/>
          </p:cNvSpPr>
          <p:nvPr>
            <p:ph type="title"/>
          </p:nvPr>
        </p:nvSpPr>
        <p:spPr>
          <a:xfrm>
            <a:off x="747487" y="317823"/>
            <a:ext cx="11121657" cy="751350"/>
          </a:xfrm>
        </p:spPr>
        <p:txBody>
          <a:bodyPr/>
          <a:lstStyle/>
          <a:p>
            <a:r>
              <a:rPr lang="en-US" dirty="0"/>
              <a:t>The Categories of Accommodations</a:t>
            </a:r>
          </a:p>
        </p:txBody>
      </p:sp>
      <p:graphicFrame>
        <p:nvGraphicFramePr>
          <p:cNvPr id="5" name="Diagram 4" descr="Accessibility Features, Designated Supports, and Designated Supports Requiring TEA Approval">
            <a:extLst>
              <a:ext uri="{FF2B5EF4-FFF2-40B4-BE49-F238E27FC236}">
                <a16:creationId xmlns:a16="http://schemas.microsoft.com/office/drawing/2014/main" id="{F197961E-C2EB-4C76-B919-3AD6AABDCFFF}"/>
              </a:ext>
            </a:extLst>
          </p:cNvPr>
          <p:cNvGraphicFramePr/>
          <p:nvPr/>
        </p:nvGraphicFramePr>
        <p:xfrm>
          <a:off x="747487" y="1386114"/>
          <a:ext cx="10929256" cy="43252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Graphic 6">
            <a:extLst>
              <a:ext uri="{FF2B5EF4-FFF2-40B4-BE49-F238E27FC236}">
                <a16:creationId xmlns:a16="http://schemas.microsoft.com/office/drawing/2014/main" id="{A62392D6-0227-4F5C-ABF7-D6FB69DA1C9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9787" y="1742155"/>
            <a:ext cx="850913" cy="850913"/>
          </a:xfrm>
          <a:prstGeom prst="rect">
            <a:avLst/>
          </a:prstGeom>
        </p:spPr>
      </p:pic>
      <p:pic>
        <p:nvPicPr>
          <p:cNvPr id="9" name="Graphic 8">
            <a:extLst>
              <a:ext uri="{FF2B5EF4-FFF2-40B4-BE49-F238E27FC236}">
                <a16:creationId xmlns:a16="http://schemas.microsoft.com/office/drawing/2014/main" id="{93EA1E6B-D3DC-4EC3-A208-DF33A888514C}"/>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22137" y="1814660"/>
            <a:ext cx="914400" cy="914400"/>
          </a:xfrm>
          <a:prstGeom prst="rect">
            <a:avLst/>
          </a:prstGeom>
        </p:spPr>
      </p:pic>
      <p:pic>
        <p:nvPicPr>
          <p:cNvPr id="11" name="Graphic 10">
            <a:extLst>
              <a:ext uri="{FF2B5EF4-FFF2-40B4-BE49-F238E27FC236}">
                <a16:creationId xmlns:a16="http://schemas.microsoft.com/office/drawing/2014/main" id="{5AA8036F-F52B-4DBF-9738-CCA44C79C769}"/>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85344" y="3748314"/>
            <a:ext cx="914400" cy="914400"/>
          </a:xfrm>
          <a:prstGeom prst="rect">
            <a:avLst/>
          </a:prstGeom>
        </p:spPr>
      </p:pic>
      <p:sp>
        <p:nvSpPr>
          <p:cNvPr id="17" name="Slide Number Placeholder 16">
            <a:extLst>
              <a:ext uri="{FF2B5EF4-FFF2-40B4-BE49-F238E27FC236}">
                <a16:creationId xmlns:a16="http://schemas.microsoft.com/office/drawing/2014/main" id="{322F8905-E850-407B-8490-B0D23A2019E5}"/>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91488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635F5ECA-EFFD-4824-9F9B-EBFA24330CA3}"/>
              </a:ext>
            </a:extLst>
          </p:cNvPr>
          <p:cNvSpPr txBox="1">
            <a:spLocks noGrp="1"/>
          </p:cNvSpPr>
          <p:nvPr>
            <p:ph type="title" idx="4294967295"/>
          </p:nvPr>
        </p:nvSpPr>
        <p:spPr>
          <a:xfrm>
            <a:off x="921657" y="287240"/>
            <a:ext cx="609600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D6CB9"/>
                </a:solidFill>
                <a:effectLst/>
                <a:uLnTx/>
                <a:uFillTx/>
                <a:latin typeface="Calibri" panose="020F0502020204030204"/>
                <a:ea typeface="+mn-ea"/>
                <a:cs typeface="+mn-cs"/>
              </a:rPr>
              <a:t>Accessibility</a:t>
            </a:r>
            <a:r>
              <a:rPr kumimoji="0" lang="en-US" sz="2800" b="1" i="0" u="none" strike="noStrike" kern="1200" cap="none" spc="0" normalizeH="0" baseline="0" noProof="0" dirty="0">
                <a:ln>
                  <a:noFill/>
                </a:ln>
                <a:solidFill>
                  <a:srgbClr val="0D6CB9"/>
                </a:solidFill>
                <a:effectLst/>
                <a:uLnTx/>
                <a:uFillTx/>
                <a:latin typeface="Calibri" panose="020F0502020204030204"/>
                <a:ea typeface="+mn-ea"/>
                <a:cs typeface="+mn-cs"/>
              </a:rPr>
              <a:t> </a:t>
            </a:r>
            <a:r>
              <a:rPr kumimoji="0" lang="en-US" sz="3600" b="1" i="0" u="none" strike="noStrike" kern="1200" cap="none" spc="0" normalizeH="0" baseline="0" noProof="0" dirty="0">
                <a:ln>
                  <a:noFill/>
                </a:ln>
                <a:solidFill>
                  <a:srgbClr val="0D6CB9"/>
                </a:solidFill>
                <a:effectLst/>
                <a:uLnTx/>
                <a:uFillTx/>
                <a:latin typeface="Calibri" panose="020F0502020204030204"/>
                <a:ea typeface="+mn-ea"/>
                <a:cs typeface="+mn-cs"/>
              </a:rPr>
              <a:t>Features</a:t>
            </a:r>
            <a:endParaRPr kumimoji="0" lang="en-US" sz="2800" b="1" i="0" u="none" strike="noStrike" kern="1200" cap="none" spc="0" normalizeH="0" baseline="0" noProof="0" dirty="0">
              <a:ln>
                <a:noFill/>
              </a:ln>
              <a:solidFill>
                <a:srgbClr val="0D6CB9"/>
              </a:solidFill>
              <a:effectLst/>
              <a:uLnTx/>
              <a:uFillTx/>
              <a:latin typeface="Calibri" panose="020F0502020204030204"/>
              <a:ea typeface="+mn-ea"/>
              <a:cs typeface="+mn-cs"/>
            </a:endParaRPr>
          </a:p>
        </p:txBody>
      </p:sp>
      <p:graphicFrame>
        <p:nvGraphicFramePr>
          <p:cNvPr id="10" name="Diagram 9" descr="Accessibility Features, Designated Supports, and Designated Supports Requiring TEA Approval">
            <a:extLst>
              <a:ext uri="{FF2B5EF4-FFF2-40B4-BE49-F238E27FC236}">
                <a16:creationId xmlns:a16="http://schemas.microsoft.com/office/drawing/2014/main" id="{3C92771E-86B9-48F7-91A1-6C66DE31E038}"/>
              </a:ext>
            </a:extLst>
          </p:cNvPr>
          <p:cNvGraphicFramePr/>
          <p:nvPr>
            <p:extLst>
              <p:ext uri="{D42A27DB-BD31-4B8C-83A1-F6EECF244321}">
                <p14:modId xmlns:p14="http://schemas.microsoft.com/office/powerpoint/2010/main" val="3489208032"/>
              </p:ext>
            </p:extLst>
          </p:nvPr>
        </p:nvGraphicFramePr>
        <p:xfrm>
          <a:off x="-1" y="1081314"/>
          <a:ext cx="5834744" cy="12917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TextBox 14">
            <a:extLst>
              <a:ext uri="{FF2B5EF4-FFF2-40B4-BE49-F238E27FC236}">
                <a16:creationId xmlns:a16="http://schemas.microsoft.com/office/drawing/2014/main" id="{CFD3ED5C-CF35-4BA0-BE68-A2B8871F458F}"/>
              </a:ext>
            </a:extLst>
          </p:cNvPr>
          <p:cNvSpPr txBox="1"/>
          <p:nvPr/>
        </p:nvSpPr>
        <p:spPr>
          <a:xfrm>
            <a:off x="1383922" y="2344010"/>
            <a:ext cx="9905520" cy="3489598"/>
          </a:xfrm>
          <a:prstGeom prst="rect">
            <a:avLst/>
          </a:prstGeom>
          <a:noFill/>
          <a:ln w="41275">
            <a:solidFill>
              <a:schemeClr val="accent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800" b="0" i="0" u="none" strike="noStrike" kern="1200" cap="none" spc="0" normalizeH="0" baseline="0" noProof="0">
              <a:ln>
                <a:noFill/>
              </a:ln>
              <a:solidFill>
                <a:srgbClr val="0D6CB9"/>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Documents can be found in the </a:t>
            </a:r>
            <a:r>
              <a:rPr kumimoji="0" lang="en-US" sz="2400" b="0" i="1" u="none" strike="noStrike" kern="1200" cap="none" spc="0" normalizeH="0" baseline="0" noProof="0">
                <a:ln>
                  <a:noFill/>
                </a:ln>
                <a:solidFill>
                  <a:srgbClr val="0D6CB9"/>
                </a:solidFill>
                <a:effectLst/>
                <a:uLnTx/>
                <a:uFillTx/>
                <a:latin typeface="Calibri" panose="020F0502020204030204"/>
                <a:ea typeface="+mn-ea"/>
                <a:cs typeface="+mn-cs"/>
              </a:rPr>
              <a:t>District and Campus Coordinator Resources </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and the Accommodations Resources webpage.</a:t>
            </a: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endParaRPr kumimoji="0" lang="en-US" sz="2400" b="0" i="0" u="sng" strike="noStrike" kern="1200" cap="none" spc="0" normalizeH="0" baseline="0" noProof="0">
              <a:ln>
                <a:noFill/>
              </a:ln>
              <a:solidFill>
                <a:srgbClr val="0D6CB9"/>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Are available to any student who regularly benefits from the use of these procedures or materials during instruction. </a:t>
            </a: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No need to document use of accessibility features in student paperwork, a test booklet, or TIDE.</a:t>
            </a: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Calibri"/>
            </a:endParaRP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8152" y="1170609"/>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8" name="Slide Number Placeholder 7">
            <a:extLst>
              <a:ext uri="{FF2B5EF4-FFF2-40B4-BE49-F238E27FC236}">
                <a16:creationId xmlns:a16="http://schemas.microsoft.com/office/drawing/2014/main" id="{82EEFA22-0170-4692-A11B-E7F8D9A3913C}"/>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39926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a:xfrm>
            <a:off x="777695" y="195046"/>
            <a:ext cx="11121657" cy="751350"/>
          </a:xfrm>
        </p:spPr>
        <p:txBody>
          <a:bodyPr>
            <a:normAutofit/>
          </a:bodyPr>
          <a:lstStyle/>
          <a:p>
            <a:r>
              <a:rPr lang="en-US" dirty="0"/>
              <a:t> Accessibility Features</a:t>
            </a:r>
          </a:p>
        </p:txBody>
      </p:sp>
      <p:graphicFrame>
        <p:nvGraphicFramePr>
          <p:cNvPr id="10" name="Diagram 9" descr="Accessibility Features, Designated Supports, and Designated Supports Requiring TEA Approval">
            <a:extLst>
              <a:ext uri="{FF2B5EF4-FFF2-40B4-BE49-F238E27FC236}">
                <a16:creationId xmlns:a16="http://schemas.microsoft.com/office/drawing/2014/main" id="{3C92771E-86B9-48F7-91A1-6C66DE31E038}"/>
              </a:ext>
            </a:extLst>
          </p:cNvPr>
          <p:cNvGraphicFramePr/>
          <p:nvPr>
            <p:extLst>
              <p:ext uri="{D42A27DB-BD31-4B8C-83A1-F6EECF244321}">
                <p14:modId xmlns:p14="http://schemas.microsoft.com/office/powerpoint/2010/main" val="1238623174"/>
              </p:ext>
            </p:extLst>
          </p:nvPr>
        </p:nvGraphicFramePr>
        <p:xfrm>
          <a:off x="-1" y="1081314"/>
          <a:ext cx="5834744" cy="12917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TextBox 14">
            <a:extLst>
              <a:ext uri="{FF2B5EF4-FFF2-40B4-BE49-F238E27FC236}">
                <a16:creationId xmlns:a16="http://schemas.microsoft.com/office/drawing/2014/main" id="{CFD3ED5C-CF35-4BA0-BE68-A2B8871F458F}"/>
              </a:ext>
            </a:extLst>
          </p:cNvPr>
          <p:cNvSpPr txBox="1"/>
          <p:nvPr/>
        </p:nvSpPr>
        <p:spPr>
          <a:xfrm>
            <a:off x="1384933" y="2345469"/>
            <a:ext cx="10095868" cy="3600986"/>
          </a:xfrm>
          <a:prstGeom prst="rect">
            <a:avLst/>
          </a:prstGeom>
          <a:noFill/>
          <a:ln w="41275">
            <a:solidFill>
              <a:schemeClr val="accent1"/>
            </a:solidFill>
          </a:ln>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A student using certain accessibility features may need to complete the test in a separate setting in order to eliminate distractions to other students and to ensure that the security and confidentiality of the test is maintained.</a:t>
            </a: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A student cannot be required to use them during testing. </a:t>
            </a: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
                <a:srgbClr val="F16038"/>
              </a:buClr>
              <a:buSzTx/>
              <a:buFontTx/>
              <a:buNone/>
              <a:tabLst/>
              <a:defRPr/>
            </a:pPr>
            <a:r>
              <a:rPr kumimoji="0" lang="en-US" sz="2000" b="1" i="0" u="none" strike="noStrike" kern="1200" cap="none" spc="0" normalizeH="0" baseline="0" noProof="0">
                <a:ln>
                  <a:noFill/>
                </a:ln>
                <a:solidFill>
                  <a:srgbClr val="0D6CB9"/>
                </a:solidFill>
                <a:effectLst/>
                <a:uLnTx/>
                <a:uFillTx/>
                <a:latin typeface="Calibri" panose="020F0502020204030204"/>
                <a:ea typeface="+mn-ea"/>
                <a:cs typeface="+mn-cs"/>
              </a:rPr>
              <a:t>Coordinators are responsible for ensuring that test administrators </a:t>
            </a:r>
          </a:p>
          <a:p>
            <a:pPr marL="0" marR="0" lvl="0" indent="0" algn="ctr" defTabSz="914400" rtl="0" eaLnBrk="1" fontAlgn="auto" latinLnBrk="0" hangingPunct="1">
              <a:lnSpc>
                <a:spcPct val="100000"/>
              </a:lnSpc>
              <a:spcBef>
                <a:spcPts val="0"/>
              </a:spcBef>
              <a:spcAft>
                <a:spcPts val="0"/>
              </a:spcAft>
              <a:buClr>
                <a:srgbClr val="F16038"/>
              </a:buClr>
              <a:buSzTx/>
              <a:buFontTx/>
              <a:buNone/>
              <a:tabLst/>
              <a:defRPr/>
            </a:pPr>
            <a:r>
              <a:rPr kumimoji="0" lang="en-US" sz="2000" b="1" i="0" u="none" strike="noStrike" kern="1200" cap="none" spc="0" normalizeH="0" baseline="0" noProof="0">
                <a:ln>
                  <a:noFill/>
                </a:ln>
                <a:solidFill>
                  <a:srgbClr val="0D6CB9"/>
                </a:solidFill>
                <a:effectLst/>
                <a:uLnTx/>
                <a:uFillTx/>
                <a:latin typeface="Calibri" panose="020F0502020204030204"/>
                <a:ea typeface="+mn-ea"/>
                <a:cs typeface="+mn-cs"/>
              </a:rPr>
              <a:t>understand the proper implementation of these procedures</a:t>
            </a:r>
          </a:p>
          <a:p>
            <a:pPr marL="0" marR="0" lvl="0" indent="0" algn="ctr" defTabSz="914400" rtl="0" eaLnBrk="1" fontAlgn="auto" latinLnBrk="0" hangingPunct="1">
              <a:lnSpc>
                <a:spcPct val="100000"/>
              </a:lnSpc>
              <a:spcBef>
                <a:spcPts val="0"/>
              </a:spcBef>
              <a:spcAft>
                <a:spcPts val="0"/>
              </a:spcAft>
              <a:buClr>
                <a:srgbClr val="F16038"/>
              </a:buClr>
              <a:buSzTx/>
              <a:buFontTx/>
              <a:buNone/>
              <a:tabLst/>
              <a:defRPr/>
            </a:pPr>
            <a:r>
              <a:rPr kumimoji="0" lang="en-US" sz="2000" b="1" i="0" u="none" strike="noStrike" kern="1200" cap="none" spc="0" normalizeH="0" baseline="0" noProof="0">
                <a:ln>
                  <a:noFill/>
                </a:ln>
                <a:solidFill>
                  <a:srgbClr val="0D6CB9"/>
                </a:solidFill>
                <a:effectLst/>
                <a:uLnTx/>
                <a:uFillTx/>
                <a:latin typeface="Calibri" panose="020F0502020204030204"/>
                <a:ea typeface="+mn-ea"/>
                <a:cs typeface="+mn-cs"/>
              </a:rPr>
              <a:t> and use of these materials. </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8152" y="1147667"/>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938277D9-C10F-4C51-AB25-24978C506BFE}"/>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42157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Accessibility Features</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flipH="1">
            <a:off x="1009924" y="2315029"/>
            <a:ext cx="122190" cy="1609271"/>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3" name="Diagram 2" descr="list of accessibility features in alphabetical order">
            <a:extLst>
              <a:ext uri="{FF2B5EF4-FFF2-40B4-BE49-F238E27FC236}">
                <a16:creationId xmlns:a16="http://schemas.microsoft.com/office/drawing/2014/main" id="{BAE44A70-34BA-4523-A98E-1025BB2EBE2B}"/>
              </a:ext>
            </a:extLst>
          </p:cNvPr>
          <p:cNvGraphicFramePr/>
          <p:nvPr>
            <p:extLst>
              <p:ext uri="{D42A27DB-BD31-4B8C-83A1-F6EECF244321}">
                <p14:modId xmlns:p14="http://schemas.microsoft.com/office/powerpoint/2010/main" val="478698073"/>
              </p:ext>
            </p:extLst>
          </p:nvPr>
        </p:nvGraphicFramePr>
        <p:xfrm>
          <a:off x="292690" y="904580"/>
          <a:ext cx="11606619" cy="49229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6" name="Slide Number Placeholder 15">
            <a:extLst>
              <a:ext uri="{FF2B5EF4-FFF2-40B4-BE49-F238E27FC236}">
                <a16:creationId xmlns:a16="http://schemas.microsoft.com/office/drawing/2014/main" id="{9967E48F-6D97-42AA-A2C4-8DB2D6412EA6}"/>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95010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Accessibility Features</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3" name="Diagram 2" descr="alphabetical list of accessibility features&#10;">
            <a:extLst>
              <a:ext uri="{FF2B5EF4-FFF2-40B4-BE49-F238E27FC236}">
                <a16:creationId xmlns:a16="http://schemas.microsoft.com/office/drawing/2014/main" id="{BAE44A70-34BA-4523-A98E-1025BB2EBE2B}"/>
              </a:ext>
            </a:extLst>
          </p:cNvPr>
          <p:cNvGraphicFramePr/>
          <p:nvPr>
            <p:extLst>
              <p:ext uri="{D42A27DB-BD31-4B8C-83A1-F6EECF244321}">
                <p14:modId xmlns:p14="http://schemas.microsoft.com/office/powerpoint/2010/main" val="3300150928"/>
              </p:ext>
            </p:extLst>
          </p:nvPr>
        </p:nvGraphicFramePr>
        <p:xfrm>
          <a:off x="292690" y="904580"/>
          <a:ext cx="11606619" cy="49229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Slide Number Placeholder 13">
            <a:extLst>
              <a:ext uri="{FF2B5EF4-FFF2-40B4-BE49-F238E27FC236}">
                <a16:creationId xmlns:a16="http://schemas.microsoft.com/office/drawing/2014/main" id="{A4FADBA9-E120-4524-8613-D62F136D982E}"/>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870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a:extLst>
              <a:ext uri="{FF2B5EF4-FFF2-40B4-BE49-F238E27FC236}">
                <a16:creationId xmlns:a16="http://schemas.microsoft.com/office/drawing/2014/main" id="{A60B4952-5977-40C1-4753-9F5817A75D53}"/>
              </a:ext>
              <a:ext uri="{C183D7F6-B498-43B3-948B-1728B52AA6E4}">
                <adec:decorative xmlns:adec="http://schemas.microsoft.com/office/drawing/2017/decorative" val="1"/>
              </a:ext>
            </a:extLst>
          </p:cNvPr>
          <p:cNvSpPr>
            <a:spLocks noGrp="1"/>
          </p:cNvSpPr>
          <p:nvPr>
            <p:ph type="sldNum" sz="quarter" idx="12"/>
          </p:nvPr>
        </p:nvSpPr>
        <p:spPr>
          <a:xfrm>
            <a:off x="9210675" y="6492873"/>
            <a:ext cx="2743200"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C126A4-BD19-47E2-8A0E-0DE1B9D8C925}" type="slidenum">
              <a:rPr kumimoji="0" lang="en-US" sz="1200" b="0" i="0" u="none" strike="noStrike" kern="1200" cap="none" spc="0" normalizeH="0" baseline="0" noProof="0" dirty="0" smtClean="0">
                <a:ln>
                  <a:noFill/>
                </a:ln>
                <a:solidFill>
                  <a:srgbClr val="0D6CB9"/>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a:t>
            </a:fld>
            <a:endParaRPr kumimoji="0" lang="en-US" sz="1200" b="0" i="0" u="none" strike="noStrike" kern="1200" cap="none" spc="0" normalizeH="0" baseline="0" noProof="0">
              <a:ln>
                <a:noFill/>
              </a:ln>
              <a:solidFill>
                <a:srgbClr val="0D6CB9"/>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28C15AC-FFB4-40BF-8C95-BE27D750FBB8}"/>
              </a:ext>
            </a:extLst>
          </p:cNvPr>
          <p:cNvSpPr>
            <a:spLocks noGrp="1"/>
          </p:cNvSpPr>
          <p:nvPr>
            <p:ph type="title"/>
          </p:nvPr>
        </p:nvSpPr>
        <p:spPr>
          <a:xfrm>
            <a:off x="2212290" y="199694"/>
            <a:ext cx="9515883" cy="542429"/>
          </a:xfrm>
        </p:spPr>
        <p:txBody>
          <a:bodyPr anchor="ctr">
            <a:normAutofit/>
          </a:bodyPr>
          <a:lstStyle/>
          <a:p>
            <a:r>
              <a:rPr lang="en-US" sz="3100" dirty="0"/>
              <a:t> 2023-2024 Accommodations Agenda</a:t>
            </a:r>
          </a:p>
        </p:txBody>
      </p:sp>
      <p:graphicFrame>
        <p:nvGraphicFramePr>
          <p:cNvPr id="3" name="Diagram 2" descr="Accommodation Updates and reminders,TDS Enhancements, Accommodations Overview, &#10;Online and Paper Practice, Accommodation Request Forms, Roll Call and Questions">
            <a:extLst>
              <a:ext uri="{FF2B5EF4-FFF2-40B4-BE49-F238E27FC236}">
                <a16:creationId xmlns:a16="http://schemas.microsoft.com/office/drawing/2014/main" id="{07F4F1D6-EAAB-95E3-64AC-2E70C84D738C}"/>
              </a:ext>
            </a:extLst>
          </p:cNvPr>
          <p:cNvGraphicFramePr/>
          <p:nvPr>
            <p:extLst>
              <p:ext uri="{D42A27DB-BD31-4B8C-83A1-F6EECF244321}">
                <p14:modId xmlns:p14="http://schemas.microsoft.com/office/powerpoint/2010/main" val="2580191426"/>
              </p:ext>
            </p:extLst>
          </p:nvPr>
        </p:nvGraphicFramePr>
        <p:xfrm>
          <a:off x="2212290" y="1261735"/>
          <a:ext cx="9380758" cy="49972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6905413"/>
      </p:ext>
    </p:extLst>
  </p:cSld>
  <p:clrMapOvr>
    <a:masterClrMapping/>
  </p:clrMapOvr>
  <mc:AlternateContent xmlns:mc="http://schemas.openxmlformats.org/markup-compatibility/2006" xmlns:p14="http://schemas.microsoft.com/office/powerpoint/2010/main">
    <mc:Choice Requires="p14">
      <p:transition p14:dur="10" advClick="0" advTm="10000"/>
    </mc:Choice>
    <mc:Fallback xmlns="">
      <p:transition advClick="0" advTm="1000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Accessibility Features</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3" name="Diagram 2" descr="alphabetical list of accessibility feature">
            <a:extLst>
              <a:ext uri="{FF2B5EF4-FFF2-40B4-BE49-F238E27FC236}">
                <a16:creationId xmlns:a16="http://schemas.microsoft.com/office/drawing/2014/main" id="{BAE44A70-34BA-4523-A98E-1025BB2EBE2B}"/>
              </a:ext>
            </a:extLst>
          </p:cNvPr>
          <p:cNvGraphicFramePr/>
          <p:nvPr>
            <p:extLst>
              <p:ext uri="{D42A27DB-BD31-4B8C-83A1-F6EECF244321}">
                <p14:modId xmlns:p14="http://schemas.microsoft.com/office/powerpoint/2010/main" val="2954095277"/>
              </p:ext>
            </p:extLst>
          </p:nvPr>
        </p:nvGraphicFramePr>
        <p:xfrm>
          <a:off x="292690" y="904580"/>
          <a:ext cx="11606619" cy="49229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6" name="Slide Number Placeholder 15">
            <a:extLst>
              <a:ext uri="{FF2B5EF4-FFF2-40B4-BE49-F238E27FC236}">
                <a16:creationId xmlns:a16="http://schemas.microsoft.com/office/drawing/2014/main" id="{7D8345E7-29E8-43B9-90C5-50EA8DC817FE}"/>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52397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Accessibility Features</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3" name="Diagram 2" descr="list of accessibilty features from the dccr">
            <a:extLst>
              <a:ext uri="{FF2B5EF4-FFF2-40B4-BE49-F238E27FC236}">
                <a16:creationId xmlns:a16="http://schemas.microsoft.com/office/drawing/2014/main" id="{BAE44A70-34BA-4523-A98E-1025BB2EBE2B}"/>
              </a:ext>
            </a:extLst>
          </p:cNvPr>
          <p:cNvGraphicFramePr/>
          <p:nvPr>
            <p:extLst>
              <p:ext uri="{D42A27DB-BD31-4B8C-83A1-F6EECF244321}">
                <p14:modId xmlns:p14="http://schemas.microsoft.com/office/powerpoint/2010/main" val="1248350268"/>
              </p:ext>
            </p:extLst>
          </p:nvPr>
        </p:nvGraphicFramePr>
        <p:xfrm>
          <a:off x="302174" y="904580"/>
          <a:ext cx="11606619" cy="49229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6" name="Slide Number Placeholder 15">
            <a:extLst>
              <a:ext uri="{FF2B5EF4-FFF2-40B4-BE49-F238E27FC236}">
                <a16:creationId xmlns:a16="http://schemas.microsoft.com/office/drawing/2014/main" id="{CFED3622-43C0-4BFC-85BA-A5BD77AC616C}"/>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22453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Accessibility Features</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3" name="Diagram 2" descr="list of accessibility features from the d.c.c.r.">
            <a:extLst>
              <a:ext uri="{FF2B5EF4-FFF2-40B4-BE49-F238E27FC236}">
                <a16:creationId xmlns:a16="http://schemas.microsoft.com/office/drawing/2014/main" id="{BAE44A70-34BA-4523-A98E-1025BB2EBE2B}"/>
              </a:ext>
            </a:extLst>
          </p:cNvPr>
          <p:cNvGraphicFramePr/>
          <p:nvPr>
            <p:extLst>
              <p:ext uri="{D42A27DB-BD31-4B8C-83A1-F6EECF244321}">
                <p14:modId xmlns:p14="http://schemas.microsoft.com/office/powerpoint/2010/main" val="2307271992"/>
              </p:ext>
            </p:extLst>
          </p:nvPr>
        </p:nvGraphicFramePr>
        <p:xfrm>
          <a:off x="292690" y="904580"/>
          <a:ext cx="11606619" cy="49229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Slide Number Placeholder 13">
            <a:extLst>
              <a:ext uri="{FF2B5EF4-FFF2-40B4-BE49-F238E27FC236}">
                <a16:creationId xmlns:a16="http://schemas.microsoft.com/office/drawing/2014/main" id="{40F6DC5A-C19B-447F-96B2-96C900C8121D}"/>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9038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1B9E0-8BB0-49AB-B670-6F0FAC194D9E}"/>
              </a:ext>
            </a:extLst>
          </p:cNvPr>
          <p:cNvSpPr>
            <a:spLocks noGrp="1"/>
          </p:cNvSpPr>
          <p:nvPr>
            <p:ph type="title"/>
          </p:nvPr>
        </p:nvSpPr>
        <p:spPr/>
        <p:txBody>
          <a:bodyPr/>
          <a:lstStyle/>
          <a:p>
            <a:r>
              <a:rPr lang="en-US" dirty="0"/>
              <a:t>Locally- Approved Designated Supports</a:t>
            </a:r>
          </a:p>
        </p:txBody>
      </p:sp>
      <p:grpSp>
        <p:nvGrpSpPr>
          <p:cNvPr id="5" name="Group 4" descr="designated supports overview">
            <a:extLst>
              <a:ext uri="{FF2B5EF4-FFF2-40B4-BE49-F238E27FC236}">
                <a16:creationId xmlns:a16="http://schemas.microsoft.com/office/drawing/2014/main" id="{0E1F30E9-4413-470C-8837-B15B30372F5B}"/>
              </a:ext>
            </a:extLst>
          </p:cNvPr>
          <p:cNvGrpSpPr/>
          <p:nvPr/>
        </p:nvGrpSpPr>
        <p:grpSpPr>
          <a:xfrm>
            <a:off x="1006295" y="1293751"/>
            <a:ext cx="4355413" cy="1144649"/>
            <a:chOff x="5645551" y="387137"/>
            <a:chExt cx="6061305" cy="1683514"/>
          </a:xfrm>
        </p:grpSpPr>
        <p:sp>
          <p:nvSpPr>
            <p:cNvPr id="6" name="Rectangle 5">
              <a:extLst>
                <a:ext uri="{FF2B5EF4-FFF2-40B4-BE49-F238E27FC236}">
                  <a16:creationId xmlns:a16="http://schemas.microsoft.com/office/drawing/2014/main" id="{FFC91FE6-CC84-494B-812C-77E66B89CA65}"/>
                </a:ext>
              </a:extLst>
            </p:cNvPr>
            <p:cNvSpPr/>
            <p:nvPr/>
          </p:nvSpPr>
          <p:spPr>
            <a:xfrm>
              <a:off x="5784963" y="463282"/>
              <a:ext cx="5921893" cy="1607369"/>
            </a:xfrm>
            <a:prstGeom prst="rect">
              <a:avLst/>
            </a:prstGeom>
            <a:solidFill>
              <a:schemeClr val="accent2">
                <a:lumMod val="40000"/>
                <a:lumOff val="60000"/>
                <a:alpha val="81000"/>
              </a:schemeClr>
            </a:solidFill>
            <a:ln w="38100">
              <a:solidFill>
                <a:srgbClr val="F16038"/>
              </a:solidFill>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126613AA-5375-4258-B018-C335B1CF7BDB}"/>
                </a:ext>
              </a:extLst>
            </p:cNvPr>
            <p:cNvSpPr txBox="1"/>
            <p:nvPr/>
          </p:nvSpPr>
          <p:spPr>
            <a:xfrm>
              <a:off x="5645551" y="387137"/>
              <a:ext cx="5921893" cy="1607369"/>
            </a:xfrm>
            <a:prstGeom prst="rect">
              <a:avLst/>
            </a:prstGeom>
            <a:ln w="381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8725" tIns="121920" rIns="121920" bIns="121920" numCol="1" spcCol="1270" anchor="ctr" anchorCtr="0">
              <a:noAutofit/>
            </a:bodyPr>
            <a:lstStyle/>
            <a:p>
              <a:pPr marL="0" marR="0" lvl="0" indent="0" algn="l" defTabSz="1422400" rtl="0" eaLnBrk="1" fontAlgn="auto" latinLnBrk="0" hangingPunct="1">
                <a:lnSpc>
                  <a:spcPct val="90000"/>
                </a:lnSpc>
                <a:spcBef>
                  <a:spcPct val="0"/>
                </a:spcBef>
                <a:spcAft>
                  <a:spcPct val="35000"/>
                </a:spcAft>
                <a:buClrTx/>
                <a:buSzTx/>
                <a:buFontTx/>
                <a:buNone/>
                <a:tabLst/>
                <a:defRPr/>
              </a:pPr>
              <a:r>
                <a:rPr kumimoji="0" lang="en-US" sz="3100" b="0" i="0" u="none" strike="noStrike" kern="1200" cap="none" spc="0" normalizeH="0" baseline="0" noProof="0">
                  <a:ln>
                    <a:noFill/>
                  </a:ln>
                  <a:solidFill>
                    <a:srgbClr val="0D6CB9"/>
                  </a:solidFill>
                  <a:effectLst/>
                  <a:uLnTx/>
                  <a:uFillTx/>
                  <a:latin typeface="Calibri" panose="020F0502020204030204"/>
                  <a:ea typeface="+mn-ea"/>
                  <a:cs typeface="+mn-cs"/>
                </a:rPr>
                <a:t>Designated Supports Overview</a:t>
              </a:r>
            </a:p>
          </p:txBody>
        </p:sp>
      </p:grpSp>
      <p:sp>
        <p:nvSpPr>
          <p:cNvPr id="8" name="Rectangle 7">
            <a:extLst>
              <a:ext uri="{FF2B5EF4-FFF2-40B4-BE49-F238E27FC236}">
                <a16:creationId xmlns:a16="http://schemas.microsoft.com/office/drawing/2014/main" id="{128AD06F-0A74-421E-8D1E-987C7A7CBA2A}"/>
              </a:ext>
              <a:ext uri="{C183D7F6-B498-43B3-948B-1728B52AA6E4}">
                <adec:decorative xmlns:adec="http://schemas.microsoft.com/office/drawing/2017/decorative" val="1"/>
              </a:ext>
            </a:extLst>
          </p:cNvPr>
          <p:cNvSpPr/>
          <p:nvPr/>
        </p:nvSpPr>
        <p:spPr>
          <a:xfrm>
            <a:off x="921665" y="1241979"/>
            <a:ext cx="913761" cy="1092878"/>
          </a:xfrm>
          <a:prstGeom prst="rect">
            <a:avLst/>
          </a:prstGeom>
          <a:solidFill>
            <a:srgbClr val="F16038"/>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hueOff val="0"/>
                  <a:satOff val="0"/>
                  <a:lumOff val="0"/>
                  <a:alphaOff val="0"/>
                </a:prstClr>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7DA1DF42-5A03-4C97-A4D0-3422768004B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1665" y="1293751"/>
            <a:ext cx="914400" cy="914400"/>
          </a:xfrm>
          <a:prstGeom prst="rect">
            <a:avLst/>
          </a:prstGeom>
        </p:spPr>
      </p:pic>
      <p:sp>
        <p:nvSpPr>
          <p:cNvPr id="11" name="TextBox 10">
            <a:extLst>
              <a:ext uri="{FF2B5EF4-FFF2-40B4-BE49-F238E27FC236}">
                <a16:creationId xmlns:a16="http://schemas.microsoft.com/office/drawing/2014/main" id="{30CC4B24-BD5B-4A5B-A3DA-D6997826DC1A}"/>
              </a:ext>
            </a:extLst>
          </p:cNvPr>
          <p:cNvSpPr txBox="1"/>
          <p:nvPr/>
        </p:nvSpPr>
        <p:spPr>
          <a:xfrm>
            <a:off x="1378545" y="2438400"/>
            <a:ext cx="9947546" cy="2677656"/>
          </a:xfrm>
          <a:prstGeom prst="rect">
            <a:avLst/>
          </a:prstGeom>
          <a:solidFill>
            <a:srgbClr val="F16038">
              <a:alpha val="34000"/>
            </a:srgbClr>
          </a:solidFill>
          <a:ln w="41275">
            <a:solidFill>
              <a:srgbClr val="F16038"/>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These include </a:t>
            </a:r>
            <a:r>
              <a:rPr kumimoji="0" lang="en-US" sz="2400" b="1" i="0" u="none" strike="noStrike" kern="1200" cap="none" spc="0" normalizeH="0" baseline="0" noProof="0">
                <a:ln>
                  <a:noFill/>
                </a:ln>
                <a:solidFill>
                  <a:srgbClr val="0D6CB9"/>
                </a:solidFill>
                <a:effectLst/>
                <a:uLnTx/>
                <a:uFillTx/>
                <a:latin typeface="Calibri" panose="020F0502020204030204"/>
                <a:ea typeface="+mn-ea"/>
                <a:cs typeface="+mn-cs"/>
              </a:rPr>
              <a:t>eleven</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 supports that may be made available to students who meet eligibility criteria.</a:t>
            </a:r>
          </a:p>
          <a:p>
            <a:pPr marL="285750" marR="0" lvl="0" indent="-28575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Eligibility decisions are made </a:t>
            </a:r>
            <a:r>
              <a:rPr kumimoji="0" lang="en-US" sz="2400" b="1" i="0" u="none" strike="noStrike" kern="1200" cap="none" spc="0" normalizeH="0" baseline="0" noProof="0">
                <a:ln>
                  <a:noFill/>
                </a:ln>
                <a:solidFill>
                  <a:srgbClr val="0D6CB9"/>
                </a:solidFill>
                <a:effectLst/>
                <a:uLnTx/>
                <a:uFillTx/>
                <a:latin typeface="Calibri" panose="020F0502020204030204"/>
                <a:ea typeface="+mn-ea"/>
                <a:cs typeface="+mn-cs"/>
              </a:rPr>
              <a:t>locally</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 by the appropriate team of people at the campus level based on the eligibility criteria and are documented in the appropriate paperwork.</a:t>
            </a:r>
          </a:p>
          <a:p>
            <a:pPr marL="0" marR="0" lvl="0" indent="0" algn="l" defTabSz="914400" rtl="0" eaLnBrk="1" fontAlgn="auto" latinLnBrk="0" hangingPunct="1">
              <a:lnSpc>
                <a:spcPct val="100000"/>
              </a:lnSpc>
              <a:spcBef>
                <a:spcPts val="0"/>
              </a:spcBef>
              <a:spcAft>
                <a:spcPts val="0"/>
              </a:spcAft>
              <a:buClr>
                <a:srgbClr val="FF0000"/>
              </a:buClr>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Scroll: Horizontal 11">
            <a:extLst>
              <a:ext uri="{FF2B5EF4-FFF2-40B4-BE49-F238E27FC236}">
                <a16:creationId xmlns:a16="http://schemas.microsoft.com/office/drawing/2014/main" id="{6CED6CBF-891E-42C8-8BE6-6B4FAE59482E}"/>
              </a:ext>
            </a:extLst>
          </p:cNvPr>
          <p:cNvSpPr/>
          <p:nvPr/>
        </p:nvSpPr>
        <p:spPr>
          <a:xfrm>
            <a:off x="2389908" y="5167829"/>
            <a:ext cx="7987147" cy="775772"/>
          </a:xfrm>
          <a:prstGeom prst="horizontalScroll">
            <a:avLst/>
          </a:prstGeom>
          <a:solidFill>
            <a:srgbClr val="F1603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Policy documents located on the DCCR and Accommodation Resources Webpage </a:t>
            </a:r>
          </a:p>
        </p:txBody>
      </p:sp>
      <p:sp>
        <p:nvSpPr>
          <p:cNvPr id="9" name="Slide Number Placeholder 8">
            <a:extLst>
              <a:ext uri="{FF2B5EF4-FFF2-40B4-BE49-F238E27FC236}">
                <a16:creationId xmlns:a16="http://schemas.microsoft.com/office/drawing/2014/main" id="{D3C22628-E9F2-48E0-A19F-DEF0CB32091D}"/>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97136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1B9E0-8BB0-49AB-B670-6F0FAC194D9E}"/>
              </a:ext>
            </a:extLst>
          </p:cNvPr>
          <p:cNvSpPr>
            <a:spLocks noGrp="1"/>
          </p:cNvSpPr>
          <p:nvPr>
            <p:ph type="title"/>
          </p:nvPr>
        </p:nvSpPr>
        <p:spPr/>
        <p:txBody>
          <a:bodyPr/>
          <a:lstStyle/>
          <a:p>
            <a:r>
              <a:rPr lang="en-US" dirty="0"/>
              <a:t>Designated Supports</a:t>
            </a:r>
          </a:p>
        </p:txBody>
      </p:sp>
      <p:grpSp>
        <p:nvGrpSpPr>
          <p:cNvPr id="5" name="Group 4">
            <a:extLst>
              <a:ext uri="{FF2B5EF4-FFF2-40B4-BE49-F238E27FC236}">
                <a16:creationId xmlns:a16="http://schemas.microsoft.com/office/drawing/2014/main" id="{0E1F30E9-4413-470C-8837-B15B30372F5B}"/>
              </a:ext>
              <a:ext uri="{C183D7F6-B498-43B3-948B-1728B52AA6E4}">
                <adec:decorative xmlns:adec="http://schemas.microsoft.com/office/drawing/2017/decorative" val="1"/>
              </a:ext>
            </a:extLst>
          </p:cNvPr>
          <p:cNvGrpSpPr/>
          <p:nvPr/>
        </p:nvGrpSpPr>
        <p:grpSpPr>
          <a:xfrm>
            <a:off x="1006295" y="1313213"/>
            <a:ext cx="4355413" cy="1125187"/>
            <a:chOff x="5645551" y="415761"/>
            <a:chExt cx="6061305" cy="1654890"/>
          </a:xfrm>
        </p:grpSpPr>
        <p:sp>
          <p:nvSpPr>
            <p:cNvPr id="6" name="Rectangle 5">
              <a:extLst>
                <a:ext uri="{FF2B5EF4-FFF2-40B4-BE49-F238E27FC236}">
                  <a16:creationId xmlns:a16="http://schemas.microsoft.com/office/drawing/2014/main" id="{FFC91FE6-CC84-494B-812C-77E66B89CA65}"/>
                </a:ext>
              </a:extLst>
            </p:cNvPr>
            <p:cNvSpPr/>
            <p:nvPr/>
          </p:nvSpPr>
          <p:spPr>
            <a:xfrm>
              <a:off x="5784963" y="463282"/>
              <a:ext cx="5921893" cy="1607369"/>
            </a:xfrm>
            <a:prstGeom prst="rect">
              <a:avLst/>
            </a:prstGeom>
            <a:solidFill>
              <a:schemeClr val="accent2">
                <a:lumMod val="40000"/>
                <a:lumOff val="60000"/>
                <a:alpha val="81000"/>
              </a:schemeClr>
            </a:solidFill>
            <a:ln w="38100">
              <a:solidFill>
                <a:srgbClr val="F16038"/>
              </a:solidFill>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126613AA-5375-4258-B018-C335B1CF7BDB}"/>
                </a:ext>
              </a:extLst>
            </p:cNvPr>
            <p:cNvSpPr txBox="1"/>
            <p:nvPr/>
          </p:nvSpPr>
          <p:spPr>
            <a:xfrm>
              <a:off x="5645551" y="415761"/>
              <a:ext cx="5921893" cy="1607369"/>
            </a:xfrm>
            <a:prstGeom prst="rect">
              <a:avLst/>
            </a:prstGeom>
            <a:ln w="381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8725" tIns="121920" rIns="121920" bIns="121920" numCol="1" spcCol="1270" anchor="ctr" anchorCtr="0">
              <a:noAutofit/>
            </a:bodyPr>
            <a:lstStyle/>
            <a:p>
              <a:pPr marL="0" marR="0" lvl="0" indent="0" algn="l" defTabSz="1422400" rtl="0" eaLnBrk="1" fontAlgn="auto" latinLnBrk="0" hangingPunct="1">
                <a:lnSpc>
                  <a:spcPct val="90000"/>
                </a:lnSpc>
                <a:spcBef>
                  <a:spcPct val="0"/>
                </a:spcBef>
                <a:spcAft>
                  <a:spcPct val="35000"/>
                </a:spcAft>
                <a:buClrTx/>
                <a:buSzTx/>
                <a:buFontTx/>
                <a:buNone/>
                <a:tabLst/>
                <a:defRPr/>
              </a:pPr>
              <a:r>
                <a:rPr kumimoji="0" lang="en-US" sz="3100" b="0" i="0" u="none" strike="noStrike" kern="1200" cap="none" spc="0" normalizeH="0" baseline="0" noProof="0" dirty="0">
                  <a:ln>
                    <a:noFill/>
                  </a:ln>
                  <a:solidFill>
                    <a:srgbClr val="0D6CB9"/>
                  </a:solidFill>
                  <a:effectLst/>
                  <a:uLnTx/>
                  <a:uFillTx/>
                  <a:latin typeface="Calibri" panose="020F0502020204030204"/>
                  <a:ea typeface="+mn-ea"/>
                  <a:cs typeface="+mn-cs"/>
                </a:rPr>
                <a:t>Designated Supports Overview</a:t>
              </a:r>
            </a:p>
          </p:txBody>
        </p:sp>
      </p:grpSp>
      <p:sp>
        <p:nvSpPr>
          <p:cNvPr id="8" name="Rectangle 7">
            <a:extLst>
              <a:ext uri="{FF2B5EF4-FFF2-40B4-BE49-F238E27FC236}">
                <a16:creationId xmlns:a16="http://schemas.microsoft.com/office/drawing/2014/main" id="{128AD06F-0A74-421E-8D1E-987C7A7CBA2A}"/>
              </a:ext>
              <a:ext uri="{C183D7F6-B498-43B3-948B-1728B52AA6E4}">
                <adec:decorative xmlns:adec="http://schemas.microsoft.com/office/drawing/2017/decorative" val="1"/>
              </a:ext>
            </a:extLst>
          </p:cNvPr>
          <p:cNvSpPr/>
          <p:nvPr/>
        </p:nvSpPr>
        <p:spPr>
          <a:xfrm>
            <a:off x="921665" y="1241979"/>
            <a:ext cx="913761" cy="1092878"/>
          </a:xfrm>
          <a:prstGeom prst="rect">
            <a:avLst/>
          </a:prstGeom>
          <a:solidFill>
            <a:srgbClr val="F16038"/>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hueOff val="0"/>
                  <a:satOff val="0"/>
                  <a:lumOff val="0"/>
                  <a:alphaOff val="0"/>
                </a:prstClr>
              </a:solidFill>
              <a:effectLst/>
              <a:uLnTx/>
              <a:uFillTx/>
              <a:latin typeface="Calibri" panose="020F0502020204030204"/>
              <a:ea typeface="+mn-ea"/>
              <a:cs typeface="+mn-cs"/>
            </a:endParaRPr>
          </a:p>
        </p:txBody>
      </p:sp>
      <p:pic>
        <p:nvPicPr>
          <p:cNvPr id="10" name="Graphic 9">
            <a:extLst>
              <a:ext uri="{FF2B5EF4-FFF2-40B4-BE49-F238E27FC236}">
                <a16:creationId xmlns:a16="http://schemas.microsoft.com/office/drawing/2014/main" id="{7DA1DF42-5A03-4C97-A4D0-3422768004B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1665" y="1293751"/>
            <a:ext cx="914400" cy="914400"/>
          </a:xfrm>
          <a:prstGeom prst="rect">
            <a:avLst/>
          </a:prstGeom>
        </p:spPr>
      </p:pic>
      <p:sp>
        <p:nvSpPr>
          <p:cNvPr id="11" name="TextBox 10">
            <a:extLst>
              <a:ext uri="{FF2B5EF4-FFF2-40B4-BE49-F238E27FC236}">
                <a16:creationId xmlns:a16="http://schemas.microsoft.com/office/drawing/2014/main" id="{30CC4B24-BD5B-4A5B-A3DA-D6997826DC1A}"/>
              </a:ext>
            </a:extLst>
          </p:cNvPr>
          <p:cNvSpPr txBox="1"/>
          <p:nvPr/>
        </p:nvSpPr>
        <p:spPr>
          <a:xfrm>
            <a:off x="1378545" y="2438400"/>
            <a:ext cx="10455492" cy="3293209"/>
          </a:xfrm>
          <a:prstGeom prst="rect">
            <a:avLst/>
          </a:prstGeom>
          <a:solidFill>
            <a:srgbClr val="F16038">
              <a:alpha val="34000"/>
            </a:srgbClr>
          </a:solidFill>
          <a:ln w="41275">
            <a:solidFill>
              <a:srgbClr val="F16038"/>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Each policy document is organized the same way:</a:t>
            </a:r>
          </a:p>
          <a:p>
            <a:pPr marL="914400" marR="0" lvl="2" indent="0" algn="l" defTabSz="914400" rtl="0" eaLnBrk="1" fontAlgn="auto" latinLnBrk="0" hangingPunct="1">
              <a:lnSpc>
                <a:spcPct val="100000"/>
              </a:lnSpc>
              <a:spcBef>
                <a:spcPts val="0"/>
              </a:spcBef>
              <a:spcAft>
                <a:spcPts val="0"/>
              </a:spcAft>
              <a:buClr>
                <a:srgbClr val="FF0000"/>
              </a:buClr>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Assessments </a:t>
            </a:r>
          </a:p>
          <a:p>
            <a:pPr marL="914400" marR="0" lvl="2" indent="0" algn="l" defTabSz="914400" rtl="0" eaLnBrk="1" fontAlgn="auto" latinLnBrk="0" hangingPunct="1">
              <a:lnSpc>
                <a:spcPct val="100000"/>
              </a:lnSpc>
              <a:spcBef>
                <a:spcPts val="0"/>
              </a:spcBef>
              <a:spcAft>
                <a:spcPts val="0"/>
              </a:spcAft>
              <a:buClr>
                <a:srgbClr val="FF0000"/>
              </a:buClr>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Description of Accommodation</a:t>
            </a:r>
          </a:p>
          <a:p>
            <a:pPr marL="914400" marR="0" lvl="2" indent="0" algn="l" defTabSz="914400" rtl="0" eaLnBrk="1" fontAlgn="auto" latinLnBrk="0" hangingPunct="1">
              <a:lnSpc>
                <a:spcPct val="100000"/>
              </a:lnSpc>
              <a:spcBef>
                <a:spcPts val="0"/>
              </a:spcBef>
              <a:spcAft>
                <a:spcPts val="0"/>
              </a:spcAft>
              <a:buClr>
                <a:srgbClr val="FF0000"/>
              </a:buClr>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Student Eligibility Criteria</a:t>
            </a:r>
          </a:p>
          <a:p>
            <a:pPr marL="914400" marR="0" lvl="2" indent="0" algn="l" defTabSz="914400" rtl="0" eaLnBrk="1" fontAlgn="auto" latinLnBrk="0" hangingPunct="1">
              <a:lnSpc>
                <a:spcPct val="100000"/>
              </a:lnSpc>
              <a:spcBef>
                <a:spcPts val="0"/>
              </a:spcBef>
              <a:spcAft>
                <a:spcPts val="0"/>
              </a:spcAft>
              <a:buClr>
                <a:srgbClr val="FF0000"/>
              </a:buClr>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Authority for Decision and Required Documentation</a:t>
            </a:r>
          </a:p>
          <a:p>
            <a:pPr marL="914400" marR="0" lvl="2" indent="0" algn="l" defTabSz="914400" rtl="0" eaLnBrk="1" fontAlgn="auto" latinLnBrk="0" hangingPunct="1">
              <a:lnSpc>
                <a:spcPct val="100000"/>
              </a:lnSpc>
              <a:spcBef>
                <a:spcPts val="0"/>
              </a:spcBef>
              <a:spcAft>
                <a:spcPts val="0"/>
              </a:spcAft>
              <a:buClr>
                <a:srgbClr val="FF0000"/>
              </a:buClr>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Examples/Types</a:t>
            </a:r>
          </a:p>
          <a:p>
            <a:pPr marL="914400" marR="0" lvl="2" indent="0" algn="l" defTabSz="914400" rtl="0" eaLnBrk="1" fontAlgn="auto" latinLnBrk="0" hangingPunct="1">
              <a:lnSpc>
                <a:spcPct val="100000"/>
              </a:lnSpc>
              <a:spcBef>
                <a:spcPts val="0"/>
              </a:spcBef>
              <a:spcAft>
                <a:spcPts val="0"/>
              </a:spcAft>
              <a:buClr>
                <a:srgbClr val="FF0000"/>
              </a:buClr>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Special Instructions/Considerations </a:t>
            </a:r>
          </a:p>
          <a:p>
            <a:pPr marL="914400" marR="0" lvl="2" indent="0" algn="l" defTabSz="914400" rtl="0" eaLnBrk="1" fontAlgn="auto" latinLnBrk="0" hangingPunct="1">
              <a:lnSpc>
                <a:spcPct val="100000"/>
              </a:lnSpc>
              <a:spcBef>
                <a:spcPts val="0"/>
              </a:spcBef>
              <a:spcAft>
                <a:spcPts val="0"/>
              </a:spcAft>
              <a:buClr>
                <a:srgbClr val="FF0000"/>
              </a:buClr>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Supporting Resources</a:t>
            </a:r>
          </a:p>
          <a:p>
            <a:pPr marL="914400" marR="0" lvl="2" indent="0" algn="l" defTabSz="914400" rtl="0" eaLnBrk="1" fontAlgn="auto" latinLnBrk="0" hangingPunct="1">
              <a:lnSpc>
                <a:spcPct val="100000"/>
              </a:lnSpc>
              <a:spcBef>
                <a:spcPts val="0"/>
              </a:spcBef>
              <a:spcAft>
                <a:spcPts val="0"/>
              </a:spcAft>
              <a:buClr>
                <a:srgbClr val="FF0000"/>
              </a:buClr>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4" name="Straight Arrow Connector 3">
            <a:extLst>
              <a:ext uri="{FF2B5EF4-FFF2-40B4-BE49-F238E27FC236}">
                <a16:creationId xmlns:a16="http://schemas.microsoft.com/office/drawing/2014/main" id="{BBE47DE0-6006-44B7-8ACB-904E419022B5}"/>
              </a:ext>
              <a:ext uri="{C183D7F6-B498-43B3-948B-1728B52AA6E4}">
                <adec:decorative xmlns:adec="http://schemas.microsoft.com/office/drawing/2017/decorative" val="1"/>
              </a:ext>
            </a:extLst>
          </p:cNvPr>
          <p:cNvCxnSpPr>
            <a:cxnSpLocks/>
          </p:cNvCxnSpPr>
          <p:nvPr/>
        </p:nvCxnSpPr>
        <p:spPr>
          <a:xfrm>
            <a:off x="2221786" y="3219003"/>
            <a:ext cx="0" cy="2370139"/>
          </a:xfrm>
          <a:prstGeom prst="straightConnector1">
            <a:avLst/>
          </a:prstGeom>
          <a:ln w="50800">
            <a:solidFill>
              <a:srgbClr val="F16038"/>
            </a:solidFill>
            <a:tailEnd type="triangle"/>
          </a:ln>
        </p:spPr>
        <p:style>
          <a:lnRef idx="1">
            <a:schemeClr val="accent1"/>
          </a:lnRef>
          <a:fillRef idx="0">
            <a:schemeClr val="accent1"/>
          </a:fillRef>
          <a:effectRef idx="0">
            <a:schemeClr val="accent1"/>
          </a:effectRef>
          <a:fontRef idx="minor">
            <a:schemeClr val="tx1"/>
          </a:fontRef>
        </p:style>
      </p:cxnSp>
      <p:sp>
        <p:nvSpPr>
          <p:cNvPr id="12" name="Slide Number Placeholder 11">
            <a:extLst>
              <a:ext uri="{FF2B5EF4-FFF2-40B4-BE49-F238E27FC236}">
                <a16:creationId xmlns:a16="http://schemas.microsoft.com/office/drawing/2014/main" id="{D4351F2C-1D7C-40F3-A6A0-6D62657E6D27}"/>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9D735F24-61FC-E7D7-BA2B-7511F3B8FA3D}"/>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774452" y="2780675"/>
            <a:ext cx="2391524" cy="2808467"/>
          </a:xfrm>
          <a:prstGeom prst="rect">
            <a:avLst/>
          </a:prstGeom>
          <a:ln w="19050">
            <a:solidFill>
              <a:schemeClr val="tx1"/>
            </a:solidFill>
          </a:ln>
        </p:spPr>
      </p:pic>
    </p:spTree>
    <p:extLst>
      <p:ext uri="{BB962C8B-B14F-4D97-AF65-F5344CB8AC3E}">
        <p14:creationId xmlns:p14="http://schemas.microsoft.com/office/powerpoint/2010/main" val="36324925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Basic transcribing information from the dccr presented in text boxes. ">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943271036"/>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3" name="Picture 2">
            <a:extLst>
              <a:ext uri="{FF2B5EF4-FFF2-40B4-BE49-F238E27FC236}">
                <a16:creationId xmlns:a16="http://schemas.microsoft.com/office/drawing/2014/main" id="{FA81C727-0528-4104-AB3B-44B80E298A50}"/>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162399" y="175329"/>
            <a:ext cx="1671638" cy="647700"/>
          </a:xfrm>
          <a:prstGeom prst="rect">
            <a:avLst/>
          </a:prstGeom>
        </p:spPr>
      </p:pic>
      <p:sp>
        <p:nvSpPr>
          <p:cNvPr id="15" name="Slide Number Placeholder 14">
            <a:extLst>
              <a:ext uri="{FF2B5EF4-FFF2-40B4-BE49-F238E27FC236}">
                <a16:creationId xmlns:a16="http://schemas.microsoft.com/office/drawing/2014/main" id="{0892F808-E6CB-4399-B731-F615FF747D25}"/>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55533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text box with information about basic transcribing from the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122505733"/>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5" name="Picture 4">
            <a:extLst>
              <a:ext uri="{FF2B5EF4-FFF2-40B4-BE49-F238E27FC236}">
                <a16:creationId xmlns:a16="http://schemas.microsoft.com/office/drawing/2014/main" id="{B7379A31-DB20-4939-9E36-BD1F1B03272E}"/>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53230"/>
            <a:ext cx="1670449" cy="646232"/>
          </a:xfrm>
          <a:prstGeom prst="rect">
            <a:avLst/>
          </a:prstGeom>
        </p:spPr>
      </p:pic>
      <p:sp>
        <p:nvSpPr>
          <p:cNvPr id="14" name="Slide Number Placeholder 13">
            <a:extLst>
              <a:ext uri="{FF2B5EF4-FFF2-40B4-BE49-F238E27FC236}">
                <a16:creationId xmlns:a16="http://schemas.microsoft.com/office/drawing/2014/main" id="{5711FF02-F9E2-4F66-8CC3-199E387A4C68}"/>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9719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a:xfrm>
            <a:off x="712380" y="192986"/>
            <a:ext cx="11121657" cy="751350"/>
          </a:xfrm>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from the dccr about braille and refreshable braille">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2607513634"/>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D43D391C-52A2-4BE2-A9EC-72A446DE869F}"/>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35087"/>
            <a:ext cx="1670449" cy="646232"/>
          </a:xfrm>
          <a:prstGeom prst="rect">
            <a:avLst/>
          </a:prstGeom>
        </p:spPr>
      </p:pic>
      <p:sp>
        <p:nvSpPr>
          <p:cNvPr id="15" name="Slide Number Placeholder 14">
            <a:extLst>
              <a:ext uri="{FF2B5EF4-FFF2-40B4-BE49-F238E27FC236}">
                <a16:creationId xmlns:a16="http://schemas.microsoft.com/office/drawing/2014/main" id="{03967CA5-EDC6-467F-92E5-EDDF1907F5CB}"/>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8841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from the dccr about braille and refreshable braille">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2117280811"/>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0FC49D1E-CA60-4AE3-8066-071EC5955833}"/>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53230"/>
            <a:ext cx="1670449" cy="646232"/>
          </a:xfrm>
          <a:prstGeom prst="rect">
            <a:avLst/>
          </a:prstGeom>
        </p:spPr>
      </p:pic>
      <p:sp>
        <p:nvSpPr>
          <p:cNvPr id="15" name="Slide Number Placeholder 14">
            <a:extLst>
              <a:ext uri="{FF2B5EF4-FFF2-40B4-BE49-F238E27FC236}">
                <a16:creationId xmlns:a16="http://schemas.microsoft.com/office/drawing/2014/main" id="{95DD2AC7-AA6B-460A-A36D-F3B09BFC35A7}"/>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7491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list of calculation information from the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44254881"/>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072A7C71-A04D-4C19-A484-5610307FC213}"/>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35087"/>
            <a:ext cx="1670449" cy="646232"/>
          </a:xfrm>
          <a:prstGeom prst="rect">
            <a:avLst/>
          </a:prstGeom>
        </p:spPr>
      </p:pic>
      <p:sp>
        <p:nvSpPr>
          <p:cNvPr id="15" name="Slide Number Placeholder 14">
            <a:extLst>
              <a:ext uri="{FF2B5EF4-FFF2-40B4-BE49-F238E27FC236}">
                <a16:creationId xmlns:a16="http://schemas.microsoft.com/office/drawing/2014/main" id="{B4D3CB52-3A2F-4D0D-B987-9C3087056599}"/>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09734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B26E7-F544-4A5C-891B-2AA8C3FFE03B}"/>
              </a:ext>
            </a:extLst>
          </p:cNvPr>
          <p:cNvSpPr>
            <a:spLocks noGrp="1"/>
          </p:cNvSpPr>
          <p:nvPr>
            <p:ph type="title"/>
          </p:nvPr>
        </p:nvSpPr>
        <p:spPr>
          <a:xfrm>
            <a:off x="535171" y="155364"/>
            <a:ext cx="11121657" cy="751350"/>
          </a:xfrm>
        </p:spPr>
        <p:txBody>
          <a:bodyPr/>
          <a:lstStyle/>
          <a:p>
            <a:r>
              <a:rPr lang="en-US" dirty="0"/>
              <a:t>2023–2024 Accommodation </a:t>
            </a:r>
            <a:r>
              <a:rPr lang="en-US" dirty="0">
                <a:solidFill>
                  <a:srgbClr val="F16038"/>
                </a:solidFill>
              </a:rPr>
              <a:t>Updates</a:t>
            </a:r>
          </a:p>
        </p:txBody>
      </p:sp>
      <p:sp>
        <p:nvSpPr>
          <p:cNvPr id="9" name="Explosion: 8 Points 5" descr="New icon">
            <a:extLst>
              <a:ext uri="{FF2B5EF4-FFF2-40B4-BE49-F238E27FC236}">
                <a16:creationId xmlns:a16="http://schemas.microsoft.com/office/drawing/2014/main" id="{C356CF3B-5E52-E54B-B041-6766BCDBE294}"/>
              </a:ext>
            </a:extLst>
          </p:cNvPr>
          <p:cNvSpPr/>
          <p:nvPr/>
        </p:nvSpPr>
        <p:spPr>
          <a:xfrm>
            <a:off x="9867013" y="124103"/>
            <a:ext cx="2197601" cy="1565222"/>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Calibri" panose="020F0502020204030204"/>
                <a:ea typeface="+mn-ea"/>
                <a:cs typeface="+mn-cs"/>
              </a:rPr>
              <a:t>NEW</a:t>
            </a:r>
          </a:p>
        </p:txBody>
      </p:sp>
      <p:sp>
        <p:nvSpPr>
          <p:cNvPr id="4" name="TextBox 3">
            <a:extLst>
              <a:ext uri="{FF2B5EF4-FFF2-40B4-BE49-F238E27FC236}">
                <a16:creationId xmlns:a16="http://schemas.microsoft.com/office/drawing/2014/main" id="{32A80C9C-EF23-474A-A1E2-007B59CEF31B}"/>
              </a:ext>
            </a:extLst>
          </p:cNvPr>
          <p:cNvSpPr txBox="1"/>
          <p:nvPr/>
        </p:nvSpPr>
        <p:spPr>
          <a:xfrm>
            <a:off x="127386" y="986528"/>
            <a:ext cx="9888484" cy="523220"/>
          </a:xfrm>
          <a:prstGeom prst="rect">
            <a:avLst/>
          </a:prstGeom>
          <a:noFill/>
        </p:spPr>
        <p:txBody>
          <a:bodyPr wrap="square" lIns="91440" tIns="45720" rIns="91440" bIns="45720" rtlCol="0" anchor="t">
            <a:spAutoFit/>
          </a:bodyPr>
          <a:lstStyle/>
          <a:p>
            <a:pPr marL="457200" marR="0" lvl="1"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2800" b="1" i="0" u="none" strike="noStrike" kern="1200" cap="none" spc="0" normalizeH="0" baseline="0" noProof="0" dirty="0">
                <a:ln>
                  <a:noFill/>
                </a:ln>
                <a:solidFill>
                  <a:srgbClr val="0D6CB9"/>
                </a:solidFill>
                <a:effectLst/>
                <a:uLnTx/>
                <a:uFillTx/>
                <a:latin typeface="Calibri"/>
                <a:ea typeface="+mn-ea"/>
                <a:cs typeface="Calibri"/>
              </a:rPr>
              <a:t>Ordering Braille Materials in TIDE</a:t>
            </a:r>
            <a:endParaRPr kumimoji="0" lang="en-US" sz="9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8" name="Slide Number Placeholder 7">
            <a:extLst>
              <a:ext uri="{FF2B5EF4-FFF2-40B4-BE49-F238E27FC236}">
                <a16:creationId xmlns:a16="http://schemas.microsoft.com/office/drawing/2014/main" id="{030576BD-3E6B-4268-85FF-C3EDE4BB1D2C}"/>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314E79C5-93B9-A5EF-FAF9-21D3BB205838}"/>
              </a:ext>
              <a:ext uri="{C183D7F6-B498-43B3-948B-1728B52AA6E4}">
                <adec:decorative xmlns:adec="http://schemas.microsoft.com/office/drawing/2017/decorative" val="1"/>
              </a:ext>
            </a:extLst>
          </p:cNvPr>
          <p:cNvSpPr/>
          <p:nvPr/>
        </p:nvSpPr>
        <p:spPr>
          <a:xfrm>
            <a:off x="7974419" y="3327992"/>
            <a:ext cx="3213912" cy="466134"/>
          </a:xfrm>
          <a:prstGeom prst="roundRect">
            <a:avLst/>
          </a:prstGeom>
          <a:solidFill>
            <a:srgbClr val="FFFF00">
              <a:alpha val="2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descr="screenshot of the tide terst format indicator panel where test mode and paper test format can be indicated for STAAR and TELPAS">
            <a:extLst>
              <a:ext uri="{FF2B5EF4-FFF2-40B4-BE49-F238E27FC236}">
                <a16:creationId xmlns:a16="http://schemas.microsoft.com/office/drawing/2014/main" id="{3B7AACC8-9480-1ED5-EA3F-2EF00D7818E8}"/>
              </a:ext>
            </a:extLst>
          </p:cNvPr>
          <p:cNvPicPr>
            <a:picLocks noChangeAspect="1"/>
          </p:cNvPicPr>
          <p:nvPr/>
        </p:nvPicPr>
        <p:blipFill rotWithShape="1">
          <a:blip r:embed="rId3"/>
          <a:srcRect l="7760" t="20310" r="1953" b="11377"/>
          <a:stretch/>
        </p:blipFill>
        <p:spPr>
          <a:xfrm>
            <a:off x="1299847" y="1689325"/>
            <a:ext cx="9888484" cy="4208605"/>
          </a:xfrm>
          <a:prstGeom prst="rect">
            <a:avLst/>
          </a:prstGeom>
          <a:ln w="38100">
            <a:solidFill>
              <a:schemeClr val="tx1"/>
            </a:solidFill>
          </a:ln>
        </p:spPr>
      </p:pic>
      <p:sp>
        <p:nvSpPr>
          <p:cNvPr id="14" name="Rectangle: Rounded Corners 13">
            <a:extLst>
              <a:ext uri="{FF2B5EF4-FFF2-40B4-BE49-F238E27FC236}">
                <a16:creationId xmlns:a16="http://schemas.microsoft.com/office/drawing/2014/main" id="{6F0CD19C-77D1-0178-791F-0A724D7374C7}"/>
              </a:ext>
              <a:ext uri="{C183D7F6-B498-43B3-948B-1728B52AA6E4}">
                <adec:decorative xmlns:adec="http://schemas.microsoft.com/office/drawing/2017/decorative" val="1"/>
              </a:ext>
            </a:extLst>
          </p:cNvPr>
          <p:cNvSpPr/>
          <p:nvPr/>
        </p:nvSpPr>
        <p:spPr>
          <a:xfrm>
            <a:off x="7974419" y="4191258"/>
            <a:ext cx="3213912" cy="466134"/>
          </a:xfrm>
          <a:prstGeom prst="roundRect">
            <a:avLst/>
          </a:prstGeom>
          <a:solidFill>
            <a:srgbClr val="FFFF00">
              <a:alpha val="2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1673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calculation aids from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270439630"/>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cxnSp>
        <p:nvCxnSpPr>
          <p:cNvPr id="4" name="Straight Arrow Connector 3">
            <a:extLst>
              <a:ext uri="{FF2B5EF4-FFF2-40B4-BE49-F238E27FC236}">
                <a16:creationId xmlns:a16="http://schemas.microsoft.com/office/drawing/2014/main" id="{CA9EEA23-8966-43AC-8C5E-E25F79F7C7F2}"/>
              </a:ext>
              <a:ext uri="{C183D7F6-B498-43B3-948B-1728B52AA6E4}">
                <adec:decorative xmlns:adec="http://schemas.microsoft.com/office/drawing/2017/decorative" val="1"/>
              </a:ext>
            </a:extLst>
          </p:cNvPr>
          <p:cNvCxnSpPr/>
          <p:nvPr/>
        </p:nvCxnSpPr>
        <p:spPr>
          <a:xfrm>
            <a:off x="1393632" y="2535382"/>
            <a:ext cx="0" cy="505691"/>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903BE882-2D54-4A24-A57E-244D2EF73782}"/>
              </a:ext>
              <a:ext uri="{C183D7F6-B498-43B3-948B-1728B52AA6E4}">
                <adec:decorative xmlns:adec="http://schemas.microsoft.com/office/drawing/2017/decorative" val="1"/>
              </a:ext>
            </a:extLst>
          </p:cNvPr>
          <p:cNvCxnSpPr/>
          <p:nvPr/>
        </p:nvCxnSpPr>
        <p:spPr>
          <a:xfrm>
            <a:off x="3741978" y="2535382"/>
            <a:ext cx="0" cy="505691"/>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6E8C7C8-E188-4CB5-9008-F41F5CD0B911}"/>
              </a:ext>
              <a:ext uri="{C183D7F6-B498-43B3-948B-1728B52AA6E4}">
                <adec:decorative xmlns:adec="http://schemas.microsoft.com/office/drawing/2017/decorative" val="1"/>
              </a:ext>
            </a:extLst>
          </p:cNvPr>
          <p:cNvCxnSpPr/>
          <p:nvPr/>
        </p:nvCxnSpPr>
        <p:spPr>
          <a:xfrm>
            <a:off x="6096000" y="2535382"/>
            <a:ext cx="0" cy="505691"/>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55257EC-6B7B-4EA9-9649-85C30759066E}"/>
              </a:ext>
              <a:ext uri="{C183D7F6-B498-43B3-948B-1728B52AA6E4}">
                <adec:decorative xmlns:adec="http://schemas.microsoft.com/office/drawing/2017/decorative" val="1"/>
              </a:ext>
            </a:extLst>
          </p:cNvPr>
          <p:cNvCxnSpPr/>
          <p:nvPr/>
        </p:nvCxnSpPr>
        <p:spPr>
          <a:xfrm>
            <a:off x="8459451" y="2535382"/>
            <a:ext cx="0" cy="505691"/>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4EEDFDD-DA3C-4C93-813B-86175B69DD39}"/>
              </a:ext>
              <a:ext uri="{C183D7F6-B498-43B3-948B-1728B52AA6E4}">
                <adec:decorative xmlns:adec="http://schemas.microsoft.com/office/drawing/2017/decorative" val="1"/>
              </a:ext>
            </a:extLst>
          </p:cNvPr>
          <p:cNvCxnSpPr/>
          <p:nvPr/>
        </p:nvCxnSpPr>
        <p:spPr>
          <a:xfrm>
            <a:off x="10787015" y="2535382"/>
            <a:ext cx="0" cy="505691"/>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7BAF855-2542-44C3-9925-102DAAD87367}"/>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53230"/>
            <a:ext cx="1670449" cy="646232"/>
          </a:xfrm>
          <a:prstGeom prst="rect">
            <a:avLst/>
          </a:prstGeom>
        </p:spPr>
      </p:pic>
      <p:sp>
        <p:nvSpPr>
          <p:cNvPr id="23" name="Slide Number Placeholder 22">
            <a:extLst>
              <a:ext uri="{FF2B5EF4-FFF2-40B4-BE49-F238E27FC236}">
                <a16:creationId xmlns:a16="http://schemas.microsoft.com/office/drawing/2014/main" id="{6B7A7D7C-F88D-4BE3-8359-527A3AE04E7F}"/>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33141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content and language supports from the dccr">
            <a:extLst>
              <a:ext uri="{FF2B5EF4-FFF2-40B4-BE49-F238E27FC236}">
                <a16:creationId xmlns:a16="http://schemas.microsoft.com/office/drawing/2014/main" id="{BFA91BEA-1134-43A4-B543-CA11E86186CC}"/>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3059435381"/>
              </p:ext>
            </p:extLst>
          </p:nvPr>
        </p:nvGraphicFramePr>
        <p:xfrm>
          <a:off x="208546" y="892106"/>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DEEB5E00-670C-4012-97A8-1546DED30CF3}"/>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27830"/>
            <a:ext cx="1670449" cy="646232"/>
          </a:xfrm>
          <a:prstGeom prst="rect">
            <a:avLst/>
          </a:prstGeom>
        </p:spPr>
      </p:pic>
      <p:sp>
        <p:nvSpPr>
          <p:cNvPr id="15" name="Slide Number Placeholder 14">
            <a:extLst>
              <a:ext uri="{FF2B5EF4-FFF2-40B4-BE49-F238E27FC236}">
                <a16:creationId xmlns:a16="http://schemas.microsoft.com/office/drawing/2014/main" id="{60F07E70-B98B-4FBE-9AFE-6D285BCAB7D4}"/>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25048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content and language supports from the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2431747963"/>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AF1D3B24-6C51-4784-BEBB-573D74095545}"/>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76063"/>
            <a:ext cx="1670449" cy="646232"/>
          </a:xfrm>
          <a:prstGeom prst="rect">
            <a:avLst/>
          </a:prstGeom>
        </p:spPr>
      </p:pic>
      <p:sp>
        <p:nvSpPr>
          <p:cNvPr id="14" name="Slide Number Placeholder 13">
            <a:extLst>
              <a:ext uri="{FF2B5EF4-FFF2-40B4-BE49-F238E27FC236}">
                <a16:creationId xmlns:a16="http://schemas.microsoft.com/office/drawing/2014/main" id="{52DA53C4-5067-4FFF-BF70-9F94BAD6C553}"/>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14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individualized structured reminders from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3391794782"/>
              </p:ext>
            </p:extLst>
          </p:nvPr>
        </p:nvGraphicFramePr>
        <p:xfrm>
          <a:off x="256309" y="845127"/>
          <a:ext cx="11679382" cy="30618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Rectangle: Rounded Corners 2">
            <a:extLst>
              <a:ext uri="{FF2B5EF4-FFF2-40B4-BE49-F238E27FC236}">
                <a16:creationId xmlns:a16="http://schemas.microsoft.com/office/drawing/2014/main" id="{8F10366A-F7BE-411B-AD6E-10D624D59BCF}"/>
              </a:ext>
              <a:ext uri="{C183D7F6-B498-43B3-948B-1728B52AA6E4}">
                <adec:decorative xmlns:adec="http://schemas.microsoft.com/office/drawing/2017/decorative" val="1"/>
              </a:ext>
            </a:extLst>
          </p:cNvPr>
          <p:cNvSpPr/>
          <p:nvPr/>
        </p:nvSpPr>
        <p:spPr>
          <a:xfrm>
            <a:off x="256309" y="3682670"/>
            <a:ext cx="2057399" cy="2177803"/>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paperclips or adhesive notes used to divide the test into sections</a:t>
            </a:r>
          </a:p>
        </p:txBody>
      </p:sp>
      <p:sp>
        <p:nvSpPr>
          <p:cNvPr id="4" name="Rectangle: Rounded Corners 3">
            <a:extLst>
              <a:ext uri="{FF2B5EF4-FFF2-40B4-BE49-F238E27FC236}">
                <a16:creationId xmlns:a16="http://schemas.microsoft.com/office/drawing/2014/main" id="{F2BD98F6-B30D-4110-B394-FFC00E150240}"/>
              </a:ext>
              <a:ext uri="{C183D7F6-B498-43B3-948B-1728B52AA6E4}">
                <adec:decorative xmlns:adec="http://schemas.microsoft.com/office/drawing/2017/decorative" val="1"/>
              </a:ext>
            </a:extLst>
          </p:cNvPr>
          <p:cNvSpPr/>
          <p:nvPr/>
        </p:nvSpPr>
        <p:spPr>
          <a:xfrm>
            <a:off x="2736272" y="3682671"/>
            <a:ext cx="2057399" cy="2177802"/>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50" b="0" i="0" u="none" strike="noStrike" kern="1200" cap="none" spc="0" normalizeH="0" baseline="0" noProof="0">
                <a:ln>
                  <a:noFill/>
                </a:ln>
                <a:solidFill>
                  <a:srgbClr val="0D6CB9"/>
                </a:solidFill>
                <a:effectLst/>
                <a:uLnTx/>
                <a:uFillTx/>
                <a:latin typeface="Calibri"/>
                <a:ea typeface="+mn-ea"/>
                <a:cs typeface="Calibri"/>
              </a:rPr>
              <a:t>more-frequent or less-frequent reminders of time left to test than required in the standard administration procedures</a:t>
            </a:r>
          </a:p>
        </p:txBody>
      </p:sp>
      <p:sp>
        <p:nvSpPr>
          <p:cNvPr id="5" name="Rectangle: Rounded Corners 4">
            <a:extLst>
              <a:ext uri="{FF2B5EF4-FFF2-40B4-BE49-F238E27FC236}">
                <a16:creationId xmlns:a16="http://schemas.microsoft.com/office/drawing/2014/main" id="{A6499B3C-CAFE-449D-8B2C-6EE2485F487A}"/>
              </a:ext>
              <a:ext uri="{C183D7F6-B498-43B3-948B-1728B52AA6E4}">
                <adec:decorative xmlns:adec="http://schemas.microsoft.com/office/drawing/2017/decorative" val="1"/>
              </a:ext>
            </a:extLst>
          </p:cNvPr>
          <p:cNvSpPr/>
          <p:nvPr/>
        </p:nvSpPr>
        <p:spPr>
          <a:xfrm>
            <a:off x="5188528" y="3682671"/>
            <a:ext cx="2057399" cy="2177802"/>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a:ea typeface="+mn-ea"/>
                <a:cs typeface="Calibri"/>
              </a:rPr>
              <a:t>structured reminders that are part of a behavior plan</a:t>
            </a:r>
          </a:p>
        </p:txBody>
      </p:sp>
      <p:sp>
        <p:nvSpPr>
          <p:cNvPr id="8" name="Rectangle: Rounded Corners 7">
            <a:extLst>
              <a:ext uri="{FF2B5EF4-FFF2-40B4-BE49-F238E27FC236}">
                <a16:creationId xmlns:a16="http://schemas.microsoft.com/office/drawing/2014/main" id="{E270DD24-2013-4CF8-AF46-5CF5A1629598}"/>
              </a:ext>
              <a:ext uri="{C183D7F6-B498-43B3-948B-1728B52AA6E4}">
                <adec:decorative xmlns:adec="http://schemas.microsoft.com/office/drawing/2017/decorative" val="1"/>
              </a:ext>
            </a:extLst>
          </p:cNvPr>
          <p:cNvSpPr/>
          <p:nvPr/>
        </p:nvSpPr>
        <p:spPr>
          <a:xfrm>
            <a:off x="7485651" y="3682671"/>
            <a:ext cx="2196919" cy="2177802"/>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D6CB9"/>
                </a:solidFill>
                <a:effectLst/>
                <a:uLnTx/>
                <a:uFillTx/>
                <a:latin typeface="Calibri"/>
                <a:ea typeface="+mn-ea"/>
                <a:cs typeface="Calibri"/>
              </a:rPr>
              <a:t>personal timer or clock set to remind a student to move on to the next question, page, or section or to remind a student to stop at pre-established times during the test</a:t>
            </a:r>
          </a:p>
        </p:txBody>
      </p:sp>
      <p:sp>
        <p:nvSpPr>
          <p:cNvPr id="10" name="Rectangle: Rounded Corners 9">
            <a:extLst>
              <a:ext uri="{FF2B5EF4-FFF2-40B4-BE49-F238E27FC236}">
                <a16:creationId xmlns:a16="http://schemas.microsoft.com/office/drawing/2014/main" id="{99C9E000-E089-4C69-A131-8B092FB7FEB4}"/>
              </a:ext>
              <a:ext uri="{C183D7F6-B498-43B3-948B-1728B52AA6E4}">
                <adec:decorative xmlns:adec="http://schemas.microsoft.com/office/drawing/2017/decorative" val="1"/>
              </a:ext>
            </a:extLst>
          </p:cNvPr>
          <p:cNvSpPr/>
          <p:nvPr/>
        </p:nvSpPr>
        <p:spPr>
          <a:xfrm>
            <a:off x="9954492" y="3682670"/>
            <a:ext cx="2057399" cy="2177802"/>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D6CB9"/>
                </a:solidFill>
                <a:effectLst/>
                <a:uLnTx/>
                <a:uFillTx/>
                <a:latin typeface="Calibri"/>
                <a:ea typeface="+mn-ea"/>
                <a:cs typeface="Calibri"/>
              </a:rPr>
              <a:t>index cards that have handwritten or color-coded reminders to continue working</a:t>
            </a:r>
          </a:p>
        </p:txBody>
      </p:sp>
      <p:cxnSp>
        <p:nvCxnSpPr>
          <p:cNvPr id="15" name="Straight Arrow Connector 14">
            <a:extLst>
              <a:ext uri="{FF2B5EF4-FFF2-40B4-BE49-F238E27FC236}">
                <a16:creationId xmlns:a16="http://schemas.microsoft.com/office/drawing/2014/main" id="{CCD310A7-1F09-4E49-B2F6-63B6507D43FA}"/>
              </a:ext>
              <a:ext uri="{C183D7F6-B498-43B3-948B-1728B52AA6E4}">
                <adec:decorative xmlns:adec="http://schemas.microsoft.com/office/drawing/2017/decorative" val="1"/>
              </a:ext>
            </a:extLst>
          </p:cNvPr>
          <p:cNvCxnSpPr>
            <a:cxnSpLocks/>
          </p:cNvCxnSpPr>
          <p:nvPr/>
        </p:nvCxnSpPr>
        <p:spPr>
          <a:xfrm>
            <a:off x="1285008" y="3189184"/>
            <a:ext cx="0" cy="429486"/>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519396F-4F38-42E1-AF3E-5B24C8D29252}"/>
              </a:ext>
              <a:ext uri="{C183D7F6-B498-43B3-948B-1728B52AA6E4}">
                <adec:decorative xmlns:adec="http://schemas.microsoft.com/office/drawing/2017/decorative" val="1"/>
              </a:ext>
            </a:extLst>
          </p:cNvPr>
          <p:cNvCxnSpPr>
            <a:cxnSpLocks/>
          </p:cNvCxnSpPr>
          <p:nvPr/>
        </p:nvCxnSpPr>
        <p:spPr>
          <a:xfrm>
            <a:off x="3702132" y="3189184"/>
            <a:ext cx="0" cy="429486"/>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BA5CDDF-E5BD-41DB-A513-FB303F6BB9CE}"/>
              </a:ext>
              <a:ext uri="{C183D7F6-B498-43B3-948B-1728B52AA6E4}">
                <adec:decorative xmlns:adec="http://schemas.microsoft.com/office/drawing/2017/decorative" val="1"/>
              </a:ext>
            </a:extLst>
          </p:cNvPr>
          <p:cNvCxnSpPr>
            <a:cxnSpLocks/>
          </p:cNvCxnSpPr>
          <p:nvPr/>
        </p:nvCxnSpPr>
        <p:spPr>
          <a:xfrm>
            <a:off x="10983191" y="3182257"/>
            <a:ext cx="0" cy="429486"/>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B3FC7A2-6CCF-4E53-8ED0-A69B2C925501}"/>
              </a:ext>
              <a:ext uri="{C183D7F6-B498-43B3-948B-1728B52AA6E4}">
                <adec:decorative xmlns:adec="http://schemas.microsoft.com/office/drawing/2017/decorative" val="1"/>
              </a:ext>
            </a:extLst>
          </p:cNvPr>
          <p:cNvCxnSpPr>
            <a:cxnSpLocks/>
          </p:cNvCxnSpPr>
          <p:nvPr/>
        </p:nvCxnSpPr>
        <p:spPr>
          <a:xfrm>
            <a:off x="8600209" y="3182257"/>
            <a:ext cx="0" cy="429486"/>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F68DD4E-DF84-4C02-AED6-0B4DDF02DE30}"/>
              </a:ext>
              <a:ext uri="{C183D7F6-B498-43B3-948B-1728B52AA6E4}">
                <adec:decorative xmlns:adec="http://schemas.microsoft.com/office/drawing/2017/decorative" val="1"/>
              </a:ext>
            </a:extLst>
          </p:cNvPr>
          <p:cNvCxnSpPr>
            <a:cxnSpLocks/>
          </p:cNvCxnSpPr>
          <p:nvPr/>
        </p:nvCxnSpPr>
        <p:spPr>
          <a:xfrm>
            <a:off x="6171705" y="3189184"/>
            <a:ext cx="0" cy="429486"/>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7B0277ED-53B9-4DC6-8C88-874CAC504926}"/>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53230"/>
            <a:ext cx="1670449" cy="646232"/>
          </a:xfrm>
          <a:prstGeom prst="rect">
            <a:avLst/>
          </a:prstGeom>
        </p:spPr>
      </p:pic>
      <p:sp>
        <p:nvSpPr>
          <p:cNvPr id="19" name="Slide Number Placeholder 18">
            <a:extLst>
              <a:ext uri="{FF2B5EF4-FFF2-40B4-BE49-F238E27FC236}">
                <a16:creationId xmlns:a16="http://schemas.microsoft.com/office/drawing/2014/main" id="{AF40FAB6-FE29-4048-8377-72257C2A7EB3}"/>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15798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individualized structured erminders from the DCCR">
            <a:extLst>
              <a:ext uri="{FF2B5EF4-FFF2-40B4-BE49-F238E27FC236}">
                <a16:creationId xmlns:a16="http://schemas.microsoft.com/office/drawing/2014/main" id="{BFA91BEA-1134-43A4-B543-CA11E86186CC}"/>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3649618178"/>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BE511E77-EE25-4746-8D3B-D782CBB6E445}"/>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76063"/>
            <a:ext cx="1670449" cy="646232"/>
          </a:xfrm>
          <a:prstGeom prst="rect">
            <a:avLst/>
          </a:prstGeom>
        </p:spPr>
      </p:pic>
      <p:sp>
        <p:nvSpPr>
          <p:cNvPr id="15" name="Slide Number Placeholder 14">
            <a:extLst>
              <a:ext uri="{FF2B5EF4-FFF2-40B4-BE49-F238E27FC236}">
                <a16:creationId xmlns:a16="http://schemas.microsoft.com/office/drawing/2014/main" id="{9F24A6CF-787A-436D-830F-3619BFFE29B0}"/>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9507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large print from the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3424356152"/>
              </p:ext>
            </p:extLst>
          </p:nvPr>
        </p:nvGraphicFramePr>
        <p:xfrm>
          <a:off x="256309" y="845129"/>
          <a:ext cx="11679382" cy="15586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Rectangle: Rounded Corners 2">
            <a:extLst>
              <a:ext uri="{FF2B5EF4-FFF2-40B4-BE49-F238E27FC236}">
                <a16:creationId xmlns:a16="http://schemas.microsoft.com/office/drawing/2014/main" id="{DD9752C1-1CCE-4145-9C92-60A0F42DC675}"/>
              </a:ext>
              <a:ext uri="{C183D7F6-B498-43B3-948B-1728B52AA6E4}">
                <adec:decorative xmlns:adec="http://schemas.microsoft.com/office/drawing/2017/decorative" val="1"/>
              </a:ext>
            </a:extLst>
          </p:cNvPr>
          <p:cNvSpPr/>
          <p:nvPr/>
        </p:nvSpPr>
        <p:spPr>
          <a:xfrm>
            <a:off x="256309" y="2064328"/>
            <a:ext cx="4149436" cy="3810000"/>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Students who are eligible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this support </a:t>
            </a: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endParaRPr>
          </a:p>
          <a:p>
            <a:pPr marL="457200" marR="0" lvl="0" indent="-457200" algn="ctr" defTabSz="914400" rtl="0" eaLnBrk="1" fontAlgn="auto" latinLnBrk="0" hangingPunct="1">
              <a:lnSpc>
                <a:spcPct val="100000"/>
              </a:lnSpc>
              <a:spcBef>
                <a:spcPts val="0"/>
              </a:spcBef>
              <a:spcAft>
                <a:spcPts val="0"/>
              </a:spcAft>
              <a:buClrTx/>
              <a:buSzTx/>
              <a:buFontTx/>
              <a:buAutoNum type="arabicParen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routinely and effectively use large-print materials, including textbooks, worksheets, etc., during classroom instruction and classroom testing, </a:t>
            </a: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2) </a:t>
            </a:r>
            <a:r>
              <a:rPr kumimoji="0" lang="en-US" sz="2000" b="1" i="0" u="none" strike="noStrike" kern="1200" cap="none" spc="0" normalizeH="0" baseline="0" noProof="0">
                <a:ln>
                  <a:noFill/>
                </a:ln>
                <a:solidFill>
                  <a:srgbClr val="0D6CB9"/>
                </a:solidFill>
                <a:effectLst/>
                <a:uLnTx/>
                <a:uFillTx/>
                <a:latin typeface="Calibri" panose="020F0502020204030204"/>
                <a:ea typeface="+mn-ea"/>
                <a:cs typeface="+mn-cs"/>
              </a:rPr>
              <a:t>and</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 meet at least one of the following:</a:t>
            </a: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endParaRPr>
          </a:p>
        </p:txBody>
      </p:sp>
      <p:sp>
        <p:nvSpPr>
          <p:cNvPr id="4" name="Rectangle: Rounded Corners 3">
            <a:extLst>
              <a:ext uri="{FF2B5EF4-FFF2-40B4-BE49-F238E27FC236}">
                <a16:creationId xmlns:a16="http://schemas.microsoft.com/office/drawing/2014/main" id="{20943ACB-A74B-420F-8AC2-A40ADD6CD284}"/>
              </a:ext>
              <a:ext uri="{C183D7F6-B498-43B3-948B-1728B52AA6E4}">
                <adec:decorative xmlns:adec="http://schemas.microsoft.com/office/drawing/2017/decorative" val="1"/>
              </a:ext>
            </a:extLst>
          </p:cNvPr>
          <p:cNvSpPr/>
          <p:nvPr/>
        </p:nvSpPr>
        <p:spPr>
          <a:xfrm>
            <a:off x="4675909" y="2064329"/>
            <a:ext cx="7259782" cy="3810000"/>
          </a:xfrm>
          <a:prstGeom prst="roundRect">
            <a:avLst/>
          </a:prstGeom>
          <a:solidFill>
            <a:srgbClr val="F16038">
              <a:alpha val="34000"/>
            </a:srgbClr>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a:ea typeface="+mn-ea"/>
                <a:cs typeface="Calibri"/>
              </a:rPr>
              <a:t>The student has an impairment in vision (e.g., uncorrected vision, nystagmus, qualifies for special education services with a Visual Impairment [VI]).</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a:ea typeface="+mn-ea"/>
                <a:cs typeface="Calibri"/>
              </a:rPr>
              <a:t>The student is not able to accurately track letter to letter, word to word, or line to line.</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a:ea typeface="+mn-ea"/>
                <a:cs typeface="Calibri"/>
              </a:rPr>
              <a:t>The student has a physical disability which necessitates the use of large-print materials.</a:t>
            </a:r>
          </a:p>
        </p:txBody>
      </p:sp>
      <p:pic>
        <p:nvPicPr>
          <p:cNvPr id="7" name="Picture 6">
            <a:extLst>
              <a:ext uri="{FF2B5EF4-FFF2-40B4-BE49-F238E27FC236}">
                <a16:creationId xmlns:a16="http://schemas.microsoft.com/office/drawing/2014/main" id="{CC37DE08-2F87-40CF-BAD9-236F42700BEA}"/>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53230"/>
            <a:ext cx="1670449" cy="646232"/>
          </a:xfrm>
          <a:prstGeom prst="rect">
            <a:avLst/>
          </a:prstGeom>
        </p:spPr>
      </p:pic>
      <p:sp>
        <p:nvSpPr>
          <p:cNvPr id="13" name="Slide Number Placeholder 12">
            <a:extLst>
              <a:ext uri="{FF2B5EF4-FFF2-40B4-BE49-F238E27FC236}">
                <a16:creationId xmlns:a16="http://schemas.microsoft.com/office/drawing/2014/main" id="{AF05F250-0D30-4005-AC0C-4F6F9A23B159}"/>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91740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large print from the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447843408"/>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76894EFB-5F70-46E6-8014-24854F9A09E9}"/>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49601"/>
            <a:ext cx="1670449" cy="646232"/>
          </a:xfrm>
          <a:prstGeom prst="rect">
            <a:avLst/>
          </a:prstGeom>
        </p:spPr>
      </p:pic>
      <p:sp>
        <p:nvSpPr>
          <p:cNvPr id="15" name="Slide Number Placeholder 14">
            <a:extLst>
              <a:ext uri="{FF2B5EF4-FFF2-40B4-BE49-F238E27FC236}">
                <a16:creationId xmlns:a16="http://schemas.microsoft.com/office/drawing/2014/main" id="{EF3D824D-5C5D-4A2A-878B-3C44DC022B1B}"/>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3583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manipulating test materials from the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2008003976"/>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0A68F2BD-3E82-4F17-A763-CF695BBEC1E8}"/>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72434"/>
            <a:ext cx="1670449" cy="646232"/>
          </a:xfrm>
          <a:prstGeom prst="rect">
            <a:avLst/>
          </a:prstGeom>
        </p:spPr>
      </p:pic>
      <p:sp>
        <p:nvSpPr>
          <p:cNvPr id="15" name="Slide Number Placeholder 14">
            <a:extLst>
              <a:ext uri="{FF2B5EF4-FFF2-40B4-BE49-F238E27FC236}">
                <a16:creationId xmlns:a16="http://schemas.microsoft.com/office/drawing/2014/main" id="{69F5BE60-3E86-4160-BCC8-EDE4E39C0155}"/>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43682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from dccr regarding manipulating test materials">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4238017187"/>
              </p:ext>
            </p:extLst>
          </p:nvPr>
        </p:nvGraphicFramePr>
        <p:xfrm>
          <a:off x="256309" y="845128"/>
          <a:ext cx="11679382" cy="13471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0A68F2BD-3E82-4F17-A763-CF695BBEC1E8}"/>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72434"/>
            <a:ext cx="1670449" cy="646232"/>
          </a:xfrm>
          <a:prstGeom prst="rect">
            <a:avLst/>
          </a:prstGeom>
        </p:spPr>
      </p:pic>
      <p:sp>
        <p:nvSpPr>
          <p:cNvPr id="3" name="Rectangle: Rounded Corners 2">
            <a:extLst>
              <a:ext uri="{FF2B5EF4-FFF2-40B4-BE49-F238E27FC236}">
                <a16:creationId xmlns:a16="http://schemas.microsoft.com/office/drawing/2014/main" id="{9C01F177-C68D-4671-B948-E21FEBC667E2}"/>
              </a:ext>
              <a:ext uri="{C183D7F6-B498-43B3-948B-1728B52AA6E4}">
                <adec:decorative xmlns:adec="http://schemas.microsoft.com/office/drawing/2017/decorative" val="1"/>
              </a:ext>
            </a:extLst>
          </p:cNvPr>
          <p:cNvSpPr/>
          <p:nvPr/>
        </p:nvSpPr>
        <p:spPr>
          <a:xfrm>
            <a:off x="304803" y="2315028"/>
            <a:ext cx="11630888" cy="2565443"/>
          </a:xfrm>
          <a:prstGeom prst="roundRect">
            <a:avLst/>
          </a:prstGeom>
          <a:ln>
            <a:solidFill>
              <a:srgbClr val="F16038"/>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This designated support includes but is not limited to</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turning test booklet pages per student directions</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positioning the ruler per student directions</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operating technology per student directions, such as using the mouse to navigate the pages and operate the tools in an online administration</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highlighting per student directions</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positioning mathematic manipulatives per student directions</a:t>
            </a:r>
          </a:p>
        </p:txBody>
      </p:sp>
      <p:sp>
        <p:nvSpPr>
          <p:cNvPr id="11" name="Slide Number Placeholder 10">
            <a:extLst>
              <a:ext uri="{FF2B5EF4-FFF2-40B4-BE49-F238E27FC236}">
                <a16:creationId xmlns:a16="http://schemas.microsoft.com/office/drawing/2014/main" id="{9AF9D909-FD02-4257-8C47-E49C8EBA3F88}"/>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2462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mathematics manipulatives from the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3122231598"/>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3" name="Picture 2">
            <a:extLst>
              <a:ext uri="{FF2B5EF4-FFF2-40B4-BE49-F238E27FC236}">
                <a16:creationId xmlns:a16="http://schemas.microsoft.com/office/drawing/2014/main" id="{87190EC6-6CC0-43AB-8338-9671E31DF1AF}"/>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72434"/>
            <a:ext cx="1670449" cy="646232"/>
          </a:xfrm>
          <a:prstGeom prst="rect">
            <a:avLst/>
          </a:prstGeom>
        </p:spPr>
      </p:pic>
      <p:sp>
        <p:nvSpPr>
          <p:cNvPr id="14" name="Slide Number Placeholder 13">
            <a:extLst>
              <a:ext uri="{FF2B5EF4-FFF2-40B4-BE49-F238E27FC236}">
                <a16:creationId xmlns:a16="http://schemas.microsoft.com/office/drawing/2014/main" id="{A76013A3-9CAA-4640-9A1F-BE95ADC4BA3C}"/>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6432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B26E7-F544-4A5C-891B-2AA8C3FFE03B}"/>
              </a:ext>
            </a:extLst>
          </p:cNvPr>
          <p:cNvSpPr>
            <a:spLocks noGrp="1"/>
          </p:cNvSpPr>
          <p:nvPr>
            <p:ph type="title"/>
          </p:nvPr>
        </p:nvSpPr>
        <p:spPr/>
        <p:txBody>
          <a:bodyPr>
            <a:normAutofit/>
          </a:bodyPr>
          <a:lstStyle/>
          <a:p>
            <a:r>
              <a:rPr lang="en-US" dirty="0"/>
              <a:t>2023–2024 Accommodation </a:t>
            </a:r>
            <a:r>
              <a:rPr lang="en-US" dirty="0">
                <a:solidFill>
                  <a:srgbClr val="F16038"/>
                </a:solidFill>
              </a:rPr>
              <a:t>Update</a:t>
            </a:r>
          </a:p>
        </p:txBody>
      </p:sp>
      <p:sp>
        <p:nvSpPr>
          <p:cNvPr id="9" name="Explosion: 8 Points 5" descr="New icon">
            <a:extLst>
              <a:ext uri="{FF2B5EF4-FFF2-40B4-BE49-F238E27FC236}">
                <a16:creationId xmlns:a16="http://schemas.microsoft.com/office/drawing/2014/main" id="{6C3D9B3B-AE19-7945-86AF-7AC90ED7EDD2}"/>
              </a:ext>
            </a:extLst>
          </p:cNvPr>
          <p:cNvSpPr/>
          <p:nvPr/>
        </p:nvSpPr>
        <p:spPr>
          <a:xfrm>
            <a:off x="9431676" y="46888"/>
            <a:ext cx="2043395" cy="1494236"/>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Calibri" panose="020F0502020204030204"/>
                <a:ea typeface="+mn-ea"/>
                <a:cs typeface="+mn-cs"/>
              </a:rPr>
              <a:t>NEW</a:t>
            </a:r>
          </a:p>
        </p:txBody>
      </p:sp>
      <p:sp>
        <p:nvSpPr>
          <p:cNvPr id="2" name="TextBox 1">
            <a:extLst>
              <a:ext uri="{FF2B5EF4-FFF2-40B4-BE49-F238E27FC236}">
                <a16:creationId xmlns:a16="http://schemas.microsoft.com/office/drawing/2014/main" id="{006935DD-F192-4A6A-A45B-27626B244108}"/>
              </a:ext>
            </a:extLst>
          </p:cNvPr>
          <p:cNvSpPr txBox="1"/>
          <p:nvPr/>
        </p:nvSpPr>
        <p:spPr>
          <a:xfrm>
            <a:off x="815361" y="904580"/>
            <a:ext cx="10561278" cy="2677656"/>
          </a:xfrm>
          <a:prstGeom prst="rect">
            <a:avLst/>
          </a:prstGeom>
          <a:noFill/>
        </p:spPr>
        <p:txBody>
          <a:bodyPr wrap="square" lIns="91440" tIns="45720" rIns="91440" bIns="45720" rtlCol="0" anchor="t">
            <a:spAutoFit/>
          </a:bodyPr>
          <a:lstStyle/>
          <a:p>
            <a:pPr marR="0" lvl="0" algn="l" defTabSz="914400" rtl="0" eaLnBrk="1" fontAlgn="auto" latinLnBrk="0" hangingPunct="1">
              <a:lnSpc>
                <a:spcPct val="100000"/>
              </a:lnSpc>
              <a:spcBef>
                <a:spcPts val="0"/>
              </a:spcBef>
              <a:spcAft>
                <a:spcPts val="0"/>
              </a:spcAft>
              <a:buClr>
                <a:srgbClr val="F16038"/>
              </a:buClr>
              <a:buSzTx/>
              <a:tabLst/>
              <a:defRPr/>
            </a:pPr>
            <a:r>
              <a:rPr kumimoji="0" lang="en-US" sz="2800" b="1" i="0" u="none" strike="noStrike" kern="1200" cap="none" spc="0" normalizeH="0" baseline="0" noProof="0" dirty="0">
                <a:ln>
                  <a:noFill/>
                </a:ln>
                <a:solidFill>
                  <a:srgbClr val="0D6CB9"/>
                </a:solidFill>
                <a:effectLst/>
                <a:uLnTx/>
                <a:uFillTx/>
                <a:latin typeface="Calibri" panose="020F0502020204030204"/>
                <a:ea typeface="+mn-ea"/>
                <a:cs typeface="+mn-cs"/>
              </a:rPr>
              <a:t>Word Prediction (</a:t>
            </a:r>
            <a:r>
              <a:rPr kumimoji="0" lang="en-US" sz="2800" b="1" i="0" u="none" strike="noStrike" kern="1200" cap="none" spc="0" normalizeH="0" baseline="0" noProof="0" dirty="0" err="1">
                <a:ln>
                  <a:noFill/>
                </a:ln>
                <a:solidFill>
                  <a:srgbClr val="0D6CB9"/>
                </a:solidFill>
                <a:effectLst/>
                <a:uLnTx/>
                <a:uFillTx/>
                <a:latin typeface="Calibri" panose="020F0502020204030204"/>
                <a:ea typeface="+mn-ea"/>
                <a:cs typeface="+mn-cs"/>
              </a:rPr>
              <a:t>Co:Writer</a:t>
            </a:r>
            <a:r>
              <a:rPr kumimoji="0" lang="en-US" sz="2800" b="1" i="0" u="none" strike="noStrike" kern="1200" cap="none" spc="0" normalizeH="0" baseline="0" noProof="0" dirty="0">
                <a:ln>
                  <a:noFill/>
                </a:ln>
                <a:solidFill>
                  <a:srgbClr val="0D6CB9"/>
                </a:solidFill>
                <a:effectLst/>
                <a:uLnTx/>
                <a:uFillTx/>
                <a:latin typeface="Calibri" panose="020F0502020204030204"/>
                <a:ea typeface="+mn-ea"/>
                <a:cs typeface="+mn-cs"/>
              </a:rPr>
              <a:t>) now an embedded tool in TDS</a:t>
            </a:r>
          </a:p>
          <a:p>
            <a:pPr marL="457200" marR="0" lvl="0" indent="-4572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200" i="0" u="none" strike="noStrike" kern="1200" cap="none" spc="0" normalizeH="0" baseline="0" noProof="0" dirty="0">
                <a:ln>
                  <a:noFill/>
                </a:ln>
                <a:solidFill>
                  <a:srgbClr val="0D6CB9"/>
                </a:solidFill>
                <a:effectLst/>
                <a:uLnTx/>
                <a:uFillTx/>
                <a:latin typeface="Calibri" panose="020F0502020204030204"/>
                <a:ea typeface="+mn-ea"/>
                <a:cs typeface="+mn-cs"/>
              </a:rPr>
              <a:t>For </a:t>
            </a:r>
            <a:r>
              <a:rPr kumimoji="0" lang="en-US" sz="2200" i="0" u="none" strike="noStrike" kern="1200" cap="none" spc="0" normalizeH="0" baseline="0" noProof="0" dirty="0" err="1">
                <a:ln>
                  <a:noFill/>
                </a:ln>
                <a:solidFill>
                  <a:srgbClr val="0D6CB9"/>
                </a:solidFill>
                <a:effectLst/>
                <a:uLnTx/>
                <a:uFillTx/>
                <a:latin typeface="Calibri" panose="020F0502020204030204"/>
                <a:ea typeface="+mn-ea"/>
                <a:cs typeface="+mn-cs"/>
              </a:rPr>
              <a:t>studen</a:t>
            </a:r>
            <a:r>
              <a:rPr lang="en-US" sz="2200" dirty="0" err="1">
                <a:solidFill>
                  <a:srgbClr val="0D6CB9"/>
                </a:solidFill>
                <a:latin typeface="Calibri" panose="020F0502020204030204"/>
              </a:rPr>
              <a:t>ts</a:t>
            </a:r>
            <a:r>
              <a:rPr lang="en-US" sz="2200" dirty="0">
                <a:solidFill>
                  <a:srgbClr val="0D6CB9"/>
                </a:solidFill>
                <a:latin typeface="Calibri" panose="020F0502020204030204"/>
              </a:rPr>
              <a:t> eligible for word prediction under Spelling Assistance policy</a:t>
            </a:r>
          </a:p>
          <a:p>
            <a:pPr marL="457200" marR="0" lvl="0" indent="-4572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200" i="0" u="none" strike="noStrike" kern="1200" cap="none" spc="0" normalizeH="0" baseline="0" noProof="0" dirty="0">
                <a:ln>
                  <a:noFill/>
                </a:ln>
                <a:solidFill>
                  <a:srgbClr val="0D6CB9"/>
                </a:solidFill>
                <a:effectLst/>
                <a:uLnTx/>
                <a:uFillTx/>
                <a:latin typeface="Calibri" panose="020F0502020204030204"/>
                <a:ea typeface="+mn-ea"/>
                <a:cs typeface="+mn-cs"/>
              </a:rPr>
              <a:t>Students</a:t>
            </a:r>
            <a:r>
              <a:rPr lang="en-US" sz="2200" dirty="0">
                <a:solidFill>
                  <a:srgbClr val="0D6CB9"/>
                </a:solidFill>
                <a:latin typeface="Calibri" panose="020F0502020204030204"/>
              </a:rPr>
              <a:t> may still use a separate device or permissive mode to access word prediction software instead if that is what they are most comfortable with. (Technology guidelines must be followed.)</a:t>
            </a:r>
            <a:endParaRPr kumimoji="0" lang="en-US" sz="220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R="0" lvl="0" algn="l" defTabSz="914400" rtl="0" eaLnBrk="1" fontAlgn="auto" latinLnBrk="0" hangingPunct="1">
              <a:lnSpc>
                <a:spcPct val="100000"/>
              </a:lnSpc>
              <a:spcBef>
                <a:spcPts val="0"/>
              </a:spcBef>
              <a:spcAft>
                <a:spcPts val="0"/>
              </a:spcAft>
              <a:buClr>
                <a:srgbClr val="F16038"/>
              </a:buClr>
              <a:buSzTx/>
              <a:tabLst/>
              <a:defRPr/>
            </a:pPr>
            <a:endParaRPr kumimoji="0" lang="en-US" sz="2800" b="1"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2400" b="1" i="0" u="none" strike="noStrike" kern="1200" cap="none" spc="0" normalizeH="0" baseline="0" noProof="0" dirty="0">
                <a:ln>
                  <a:noFill/>
                </a:ln>
                <a:solidFill>
                  <a:srgbClr val="0D6CB9"/>
                </a:solidFill>
                <a:effectLst/>
                <a:uLnTx/>
                <a:uFillTx/>
                <a:latin typeface="Calibri" panose="020F0502020204030204"/>
                <a:ea typeface="+mn-ea"/>
                <a:cs typeface="+mn-cs"/>
              </a:rPr>
              <a:t>     </a:t>
            </a:r>
            <a:endParaRPr kumimoji="0" lang="en-US" sz="2400" b="1" i="0" u="none" strike="noStrike" kern="1200" cap="none" spc="0" normalizeH="0" baseline="0" noProof="0" dirty="0">
              <a:ln>
                <a:noFill/>
              </a:ln>
              <a:solidFill>
                <a:srgbClr val="0D6CB9"/>
              </a:solidFill>
              <a:effectLst/>
              <a:uLnTx/>
              <a:uFillTx/>
              <a:latin typeface="Calibri" panose="020F0502020204030204"/>
              <a:ea typeface="+mn-ea"/>
              <a:cs typeface="Calibri"/>
            </a:endParaRPr>
          </a:p>
        </p:txBody>
      </p:sp>
      <p:sp>
        <p:nvSpPr>
          <p:cNvPr id="8" name="Slide Number Placeholder 7">
            <a:extLst>
              <a:ext uri="{FF2B5EF4-FFF2-40B4-BE49-F238E27FC236}">
                <a16:creationId xmlns:a16="http://schemas.microsoft.com/office/drawing/2014/main" id="{B303D8A6-E3DE-420C-A7D4-5948C48F1BF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pic>
        <p:nvPicPr>
          <p:cNvPr id="5" name="Picture 4" descr="screenshot of the tide test attributes panel">
            <a:extLst>
              <a:ext uri="{FF2B5EF4-FFF2-40B4-BE49-F238E27FC236}">
                <a16:creationId xmlns:a16="http://schemas.microsoft.com/office/drawing/2014/main" id="{CEFE4752-F9E8-ACF9-DE3D-8DF013DBC02B}"/>
              </a:ext>
            </a:extLst>
          </p:cNvPr>
          <p:cNvPicPr>
            <a:picLocks noChangeAspect="1"/>
          </p:cNvPicPr>
          <p:nvPr/>
        </p:nvPicPr>
        <p:blipFill>
          <a:blip r:embed="rId3"/>
          <a:stretch>
            <a:fillRect/>
          </a:stretch>
        </p:blipFill>
        <p:spPr>
          <a:xfrm>
            <a:off x="227849" y="3289120"/>
            <a:ext cx="5144252" cy="2491221"/>
          </a:xfrm>
          <a:prstGeom prst="rect">
            <a:avLst/>
          </a:prstGeom>
          <a:ln w="38100">
            <a:solidFill>
              <a:schemeClr val="tx1"/>
            </a:solidFill>
          </a:ln>
        </p:spPr>
      </p:pic>
      <p:sp>
        <p:nvSpPr>
          <p:cNvPr id="6" name="Rectangle: Rounded Corners 5">
            <a:extLst>
              <a:ext uri="{FF2B5EF4-FFF2-40B4-BE49-F238E27FC236}">
                <a16:creationId xmlns:a16="http://schemas.microsoft.com/office/drawing/2014/main" id="{457C96F9-EFD1-416E-FC16-4597A962CDED}"/>
              </a:ext>
              <a:ext uri="{C183D7F6-B498-43B3-948B-1728B52AA6E4}">
                <adec:decorative xmlns:adec="http://schemas.microsoft.com/office/drawing/2017/decorative" val="1"/>
              </a:ext>
            </a:extLst>
          </p:cNvPr>
          <p:cNvSpPr/>
          <p:nvPr/>
        </p:nvSpPr>
        <p:spPr>
          <a:xfrm>
            <a:off x="0" y="5159692"/>
            <a:ext cx="5514975" cy="488808"/>
          </a:xfrm>
          <a:prstGeom prst="roundRect">
            <a:avLst/>
          </a:prstGeom>
          <a:solidFill>
            <a:srgbClr val="FFFF00">
              <a:alpha val="1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10" descr="screenshot of the word prediction tool being used in tds">
            <a:extLst>
              <a:ext uri="{FF2B5EF4-FFF2-40B4-BE49-F238E27FC236}">
                <a16:creationId xmlns:a16="http://schemas.microsoft.com/office/drawing/2014/main" id="{68AAC9DC-9A9C-656E-C5C2-EF99ADC5476A}"/>
              </a:ext>
            </a:extLst>
          </p:cNvPr>
          <p:cNvPicPr>
            <a:picLocks noChangeAspect="1"/>
          </p:cNvPicPr>
          <p:nvPr/>
        </p:nvPicPr>
        <p:blipFill>
          <a:blip r:embed="rId4"/>
          <a:stretch>
            <a:fillRect/>
          </a:stretch>
        </p:blipFill>
        <p:spPr>
          <a:xfrm>
            <a:off x="6459173" y="2754784"/>
            <a:ext cx="4530245" cy="3025557"/>
          </a:xfrm>
          <a:prstGeom prst="rect">
            <a:avLst/>
          </a:prstGeom>
          <a:ln w="38100">
            <a:solidFill>
              <a:schemeClr val="tx1"/>
            </a:solidFill>
          </a:ln>
        </p:spPr>
      </p:pic>
    </p:spTree>
    <p:extLst>
      <p:ext uri="{BB962C8B-B14F-4D97-AF65-F5344CB8AC3E}">
        <p14:creationId xmlns:p14="http://schemas.microsoft.com/office/powerpoint/2010/main" val="32450409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from dccr regarding mathematics manipulatives">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2492325812"/>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Rectangle: Rounded Corners 7">
            <a:extLst>
              <a:ext uri="{FF2B5EF4-FFF2-40B4-BE49-F238E27FC236}">
                <a16:creationId xmlns:a16="http://schemas.microsoft.com/office/drawing/2014/main" id="{A1E18246-6013-4CA8-A8D3-50941B3F1109}"/>
              </a:ext>
              <a:ext uri="{C183D7F6-B498-43B3-948B-1728B52AA6E4}">
                <adec:decorative xmlns:adec="http://schemas.microsoft.com/office/drawing/2017/decorative" val="1"/>
              </a:ext>
            </a:extLst>
          </p:cNvPr>
          <p:cNvSpPr/>
          <p:nvPr/>
        </p:nvSpPr>
        <p:spPr>
          <a:xfrm>
            <a:off x="281724" y="1765603"/>
            <a:ext cx="11628551" cy="4084037"/>
          </a:xfrm>
          <a:prstGeom prst="roundRect">
            <a:avLst/>
          </a:prstGeom>
          <a:ln>
            <a:solidFill>
              <a:srgbClr val="FF0000"/>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This designated support may include </a:t>
            </a:r>
            <a:r>
              <a:rPr kumimoji="0" lang="en-US" sz="1900" b="1" i="0" u="none" strike="noStrike" kern="1200" cap="none" spc="0" normalizeH="0" baseline="0" noProof="0">
                <a:ln>
                  <a:noFill/>
                </a:ln>
                <a:solidFill>
                  <a:srgbClr val="0D6CB9"/>
                </a:solidFill>
                <a:effectLst/>
                <a:uLnTx/>
                <a:uFillTx/>
                <a:latin typeface="Calibri" panose="020F0502020204030204"/>
                <a:ea typeface="+mn-ea"/>
                <a:cs typeface="+mn-cs"/>
              </a:rPr>
              <a:t>only</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Real or play money (both heads and tails)</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Clocks with or without numbers shown on clock face; the clock should </a:t>
            </a:r>
            <a:r>
              <a:rPr kumimoji="0" lang="en-US" sz="1900" b="1" i="0" u="none" strike="noStrike" kern="1200" cap="none" spc="0" normalizeH="0" baseline="0" noProof="0">
                <a:ln>
                  <a:noFill/>
                </a:ln>
                <a:solidFill>
                  <a:srgbClr val="0D6CB9"/>
                </a:solidFill>
                <a:effectLst/>
                <a:uLnTx/>
                <a:uFillTx/>
                <a:latin typeface="Calibri" panose="020F0502020204030204"/>
                <a:ea typeface="+mn-ea"/>
                <a:cs typeface="+mn-cs"/>
              </a:rPr>
              <a:t>NOT</a:t>
            </a: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 have gears</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Various types of counters (e.g., two-sided chips, blocks, numerals with printed or raised dots)</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Algebra tiles; the tiles should </a:t>
            </a:r>
            <a:r>
              <a:rPr kumimoji="0" lang="en-US" sz="1900" b="1" i="0" u="none" strike="noStrike" kern="1200" cap="none" spc="0" normalizeH="0" baseline="0" noProof="0">
                <a:ln>
                  <a:noFill/>
                </a:ln>
                <a:solidFill>
                  <a:srgbClr val="0D6CB9"/>
                </a:solidFill>
                <a:effectLst/>
                <a:uLnTx/>
                <a:uFillTx/>
                <a:latin typeface="Calibri" panose="020F0502020204030204"/>
                <a:ea typeface="+mn-ea"/>
                <a:cs typeface="+mn-cs"/>
              </a:rPr>
              <a:t>NOT</a:t>
            </a: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 contain words, labels, pictures, acronyms, mnemonics, numbers, symbols, or variables</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Fraction pieces (e.g., fraction bars, fraction circles); the fraction pieces should </a:t>
            </a:r>
            <a:r>
              <a:rPr kumimoji="0" lang="en-US" sz="1900" b="1" i="0" u="none" strike="noStrike" kern="1200" cap="none" spc="0" normalizeH="0" baseline="0" noProof="0">
                <a:ln>
                  <a:noFill/>
                </a:ln>
                <a:solidFill>
                  <a:srgbClr val="0D6CB9"/>
                </a:solidFill>
                <a:effectLst/>
                <a:uLnTx/>
                <a:uFillTx/>
                <a:latin typeface="Calibri" panose="020F0502020204030204"/>
                <a:ea typeface="+mn-ea"/>
                <a:cs typeface="+mn-cs"/>
              </a:rPr>
              <a:t>NOT</a:t>
            </a: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 contain labels (e.g.,  labels that show individual fractions, equivalencies, or cumulative sequence)</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Geometric figures that are grade- or course-appropriate; the figures may be provided in either three-dimensional form or two-dimensional form, but </a:t>
            </a:r>
            <a:r>
              <a:rPr kumimoji="0" lang="en-US" sz="1900" b="1" i="0" u="none" strike="noStrike" kern="1200" cap="none" spc="0" normalizeH="0" baseline="0" noProof="0">
                <a:ln>
                  <a:noFill/>
                </a:ln>
                <a:solidFill>
                  <a:srgbClr val="0D6CB9"/>
                </a:solidFill>
                <a:effectLst/>
                <a:uLnTx/>
                <a:uFillTx/>
                <a:latin typeface="Calibri" panose="020F0502020204030204"/>
                <a:ea typeface="+mn-ea"/>
                <a:cs typeface="+mn-cs"/>
              </a:rPr>
              <a:t>NOT</a:t>
            </a: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 in both forms; the figures should </a:t>
            </a:r>
            <a:r>
              <a:rPr kumimoji="0" lang="en-US" sz="1900" b="1" i="0" u="none" strike="noStrike" kern="1200" cap="none" spc="0" normalizeH="0" baseline="0" noProof="0">
                <a:ln>
                  <a:noFill/>
                </a:ln>
                <a:solidFill>
                  <a:srgbClr val="0D6CB9"/>
                </a:solidFill>
                <a:effectLst/>
                <a:uLnTx/>
                <a:uFillTx/>
                <a:latin typeface="Calibri" panose="020F0502020204030204"/>
                <a:ea typeface="+mn-ea"/>
                <a:cs typeface="+mn-cs"/>
              </a:rPr>
              <a:t>NOT </a:t>
            </a: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contain words, labels, colors used as labels, pictures, acronyms, mnemonics, numbers, symbols, or variables. Providing a pictorial model of a geometric figure in another form (e.g., three-dimensional solid) is </a:t>
            </a:r>
            <a:r>
              <a:rPr kumimoji="0" lang="en-US" sz="1900" b="1" i="0" u="none" strike="noStrike" kern="1200" cap="none" spc="0" normalizeH="0" baseline="0" noProof="0">
                <a:ln>
                  <a:noFill/>
                </a:ln>
                <a:solidFill>
                  <a:srgbClr val="0D6CB9"/>
                </a:solidFill>
                <a:effectLst/>
                <a:uLnTx/>
                <a:uFillTx/>
                <a:latin typeface="Calibri" panose="020F0502020204030204"/>
                <a:ea typeface="+mn-ea"/>
                <a:cs typeface="+mn-cs"/>
              </a:rPr>
              <a:t>NOT</a:t>
            </a: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 allowed.</a:t>
            </a:r>
          </a:p>
        </p:txBody>
      </p:sp>
      <p:pic>
        <p:nvPicPr>
          <p:cNvPr id="3" name="Picture 2">
            <a:extLst>
              <a:ext uri="{FF2B5EF4-FFF2-40B4-BE49-F238E27FC236}">
                <a16:creationId xmlns:a16="http://schemas.microsoft.com/office/drawing/2014/main" id="{C44C6577-11A0-40BF-A185-EA88442064B0}"/>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39826" y="153230"/>
            <a:ext cx="1670449" cy="646232"/>
          </a:xfrm>
          <a:prstGeom prst="rect">
            <a:avLst/>
          </a:prstGeom>
        </p:spPr>
      </p:pic>
      <p:sp>
        <p:nvSpPr>
          <p:cNvPr id="13" name="Slide Number Placeholder 12">
            <a:extLst>
              <a:ext uri="{FF2B5EF4-FFF2-40B4-BE49-F238E27FC236}">
                <a16:creationId xmlns:a16="http://schemas.microsoft.com/office/drawing/2014/main" id="{97DC027D-8F75-446D-92EB-4400414EFD86}"/>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18469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from dccr about content and language supports">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1689434241"/>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1223BD2E-E3D1-4049-AB98-21FB0EFB9A50}"/>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76063"/>
            <a:ext cx="1670449" cy="646232"/>
          </a:xfrm>
          <a:prstGeom prst="rect">
            <a:avLst/>
          </a:prstGeom>
        </p:spPr>
      </p:pic>
      <p:sp>
        <p:nvSpPr>
          <p:cNvPr id="15" name="Slide Number Placeholder 14">
            <a:extLst>
              <a:ext uri="{FF2B5EF4-FFF2-40B4-BE49-F238E27FC236}">
                <a16:creationId xmlns:a16="http://schemas.microsoft.com/office/drawing/2014/main" id="{355A4512-28F7-49D7-BE22-8676E735B7F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049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oral and signed administration information from the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3944600500"/>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17B88B2C-D1AF-4210-BA06-7CF74BB39AC4}"/>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53230"/>
            <a:ext cx="1670449" cy="646232"/>
          </a:xfrm>
          <a:prstGeom prst="rect">
            <a:avLst/>
          </a:prstGeom>
        </p:spPr>
      </p:pic>
      <p:sp>
        <p:nvSpPr>
          <p:cNvPr id="15" name="Slide Number Placeholder 14">
            <a:extLst>
              <a:ext uri="{FF2B5EF4-FFF2-40B4-BE49-F238E27FC236}">
                <a16:creationId xmlns:a16="http://schemas.microsoft.com/office/drawing/2014/main" id="{01480BE4-BBB0-4AC5-9BED-212601728C2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4533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oral and signed administration information from the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2697812371"/>
              </p:ext>
            </p:extLst>
          </p:nvPr>
        </p:nvGraphicFramePr>
        <p:xfrm>
          <a:off x="256309" y="845129"/>
          <a:ext cx="11679382" cy="15586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Flowchart: Alternate Process 4">
            <a:extLst>
              <a:ext uri="{FF2B5EF4-FFF2-40B4-BE49-F238E27FC236}">
                <a16:creationId xmlns:a16="http://schemas.microsoft.com/office/drawing/2014/main" id="{F25CED58-C882-49EC-9DD9-51EC89745339}"/>
              </a:ext>
              <a:ext uri="{C183D7F6-B498-43B3-948B-1728B52AA6E4}">
                <adec:decorative xmlns:adec="http://schemas.microsoft.com/office/drawing/2017/decorative" val="1"/>
              </a:ext>
            </a:extLst>
          </p:cNvPr>
          <p:cNvSpPr/>
          <p:nvPr/>
        </p:nvSpPr>
        <p:spPr>
          <a:xfrm>
            <a:off x="256309" y="1415143"/>
            <a:ext cx="11679382" cy="1086755"/>
          </a:xfrm>
          <a:prstGeom prst="flowChartAlternateProcess">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a:ea typeface="+mn-ea"/>
                <a:cs typeface="Calibri"/>
              </a:rPr>
              <a:t>Students identified with dyslexia or a related disorder per TEC, §38.003 may be eligible for this support if it is routinely and effectively used during classroom instruction and classroom testing. </a:t>
            </a: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p:txBody>
      </p:sp>
      <p:sp>
        <p:nvSpPr>
          <p:cNvPr id="7" name="Flowchart: Alternate Process 6">
            <a:extLst>
              <a:ext uri="{FF2B5EF4-FFF2-40B4-BE49-F238E27FC236}">
                <a16:creationId xmlns:a16="http://schemas.microsoft.com/office/drawing/2014/main" id="{07FEED81-9F04-4E8D-A787-D33E55833A2E}"/>
              </a:ext>
              <a:ext uri="{C183D7F6-B498-43B3-948B-1728B52AA6E4}">
                <adec:decorative xmlns:adec="http://schemas.microsoft.com/office/drawing/2017/decorative" val="1"/>
              </a:ext>
            </a:extLst>
          </p:cNvPr>
          <p:cNvSpPr/>
          <p:nvPr/>
        </p:nvSpPr>
        <p:spPr>
          <a:xfrm>
            <a:off x="256309" y="2574652"/>
            <a:ext cx="11679381" cy="3352798"/>
          </a:xfrm>
          <a:prstGeom prst="flowChartAlternateProcess">
            <a:avLst/>
          </a:prstGeom>
          <a:solidFill>
            <a:schemeClr val="bg1"/>
          </a:solidFill>
          <a:ln>
            <a:solidFill>
              <a:srgbClr val="F16038">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91E42"/>
              </a:solidFill>
              <a:effectLst/>
              <a:uLnTx/>
              <a:uFillTx/>
              <a:latin typeface="-apple-system"/>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072AAF4E-4154-4107-A1D3-5449905B66A5}"/>
              </a:ext>
              <a:ext uri="{C183D7F6-B498-43B3-948B-1728B52AA6E4}">
                <adec:decorative xmlns:adec="http://schemas.microsoft.com/office/drawing/2017/decorative" val="1"/>
              </a:ext>
            </a:extLst>
          </p:cNvPr>
          <p:cNvSpPr txBox="1"/>
          <p:nvPr/>
        </p:nvSpPr>
        <p:spPr>
          <a:xfrm>
            <a:off x="374072" y="2973779"/>
            <a:ext cx="11201400" cy="224676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Students with documented evidence of reading difficulties may be eligible for this support if it is routinely and effectively used during classroom instruction and classroom testing. Evidence of reading difficulties can be caused by various reasons including, but not limited to: </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learning disability in reading</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ADD/ADHD</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behavioral or emotional problem</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processing or memory issue</a:t>
            </a:r>
          </a:p>
        </p:txBody>
      </p:sp>
      <p:pic>
        <p:nvPicPr>
          <p:cNvPr id="4" name="Picture 3">
            <a:extLst>
              <a:ext uri="{FF2B5EF4-FFF2-40B4-BE49-F238E27FC236}">
                <a16:creationId xmlns:a16="http://schemas.microsoft.com/office/drawing/2014/main" id="{7D87E969-76E0-4AD7-A49A-E7E212AC4B03}"/>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1" y="176064"/>
            <a:ext cx="1670449" cy="646232"/>
          </a:xfrm>
          <a:prstGeom prst="rect">
            <a:avLst/>
          </a:prstGeom>
        </p:spPr>
      </p:pic>
      <p:sp>
        <p:nvSpPr>
          <p:cNvPr id="14" name="Slide Number Placeholder 13">
            <a:extLst>
              <a:ext uri="{FF2B5EF4-FFF2-40B4-BE49-F238E27FC236}">
                <a16:creationId xmlns:a16="http://schemas.microsoft.com/office/drawing/2014/main" id="{1B844B31-53F9-4EA4-8EA8-DA13CEF5614C}"/>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60493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Oral and signed administration information from the DCCR">
            <a:extLst>
              <a:ext uri="{FF2B5EF4-FFF2-40B4-BE49-F238E27FC236}">
                <a16:creationId xmlns:a16="http://schemas.microsoft.com/office/drawing/2014/main" id="{BFA91BEA-1134-43A4-B543-CA11E86186CC}"/>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2296537015"/>
              </p:ext>
            </p:extLst>
          </p:nvPr>
        </p:nvGraphicFramePr>
        <p:xfrm>
          <a:off x="256309" y="845129"/>
          <a:ext cx="11679382" cy="15586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Flowchart: Alternate Process 4">
            <a:extLst>
              <a:ext uri="{FF2B5EF4-FFF2-40B4-BE49-F238E27FC236}">
                <a16:creationId xmlns:a16="http://schemas.microsoft.com/office/drawing/2014/main" id="{F25CED58-C882-49EC-9DD9-51EC89745339}"/>
              </a:ext>
              <a:ext uri="{C183D7F6-B498-43B3-948B-1728B52AA6E4}">
                <adec:decorative xmlns:adec="http://schemas.microsoft.com/office/drawing/2017/decorative" val="1"/>
              </a:ext>
            </a:extLst>
          </p:cNvPr>
          <p:cNvSpPr/>
          <p:nvPr/>
        </p:nvSpPr>
        <p:spPr>
          <a:xfrm>
            <a:off x="256309" y="1415144"/>
            <a:ext cx="11679382" cy="988622"/>
          </a:xfrm>
          <a:prstGeom prst="flowChartAlternateProcess">
            <a:avLst/>
          </a:prstGeom>
          <a:solidFill>
            <a:srgbClr val="F16038">
              <a:alpha val="34000"/>
            </a:srgbClr>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D6CB9"/>
                </a:solidFill>
                <a:effectLst/>
                <a:uLnTx/>
                <a:uFillTx/>
                <a:latin typeface="Calibri" panose="020F0502020204030204"/>
                <a:ea typeface="+mn-ea"/>
                <a:cs typeface="+mn-cs"/>
              </a:rPr>
              <a:t>Oral/Signed Administration Policy Highlights</a:t>
            </a:r>
            <a:endParaRPr kumimoji="0" lang="en-US" sz="1800" b="0" i="0" u="none" strike="noStrike" kern="1200" cap="none" spc="0" normalizeH="0" baseline="0" noProof="0">
              <a:ln>
                <a:noFill/>
              </a:ln>
              <a:solidFill>
                <a:srgbClr val="0D6CB9"/>
              </a:solidFill>
              <a:effectLst/>
              <a:uLnTx/>
              <a:uFillTx/>
              <a:latin typeface="Calibri" panose="020F0502020204030204"/>
              <a:ea typeface="+mn-ea"/>
              <a:cs typeface="+mn-cs"/>
            </a:endParaRPr>
          </a:p>
        </p:txBody>
      </p:sp>
      <p:sp>
        <p:nvSpPr>
          <p:cNvPr id="7" name="Flowchart: Alternate Process 6">
            <a:extLst>
              <a:ext uri="{FF2B5EF4-FFF2-40B4-BE49-F238E27FC236}">
                <a16:creationId xmlns:a16="http://schemas.microsoft.com/office/drawing/2014/main" id="{07FEED81-9F04-4E8D-A787-D33E55833A2E}"/>
              </a:ext>
              <a:ext uri="{C183D7F6-B498-43B3-948B-1728B52AA6E4}">
                <adec:decorative xmlns:adec="http://schemas.microsoft.com/office/drawing/2017/decorative" val="1"/>
              </a:ext>
            </a:extLst>
          </p:cNvPr>
          <p:cNvSpPr/>
          <p:nvPr/>
        </p:nvSpPr>
        <p:spPr>
          <a:xfrm>
            <a:off x="256309" y="2574652"/>
            <a:ext cx="11679381" cy="3352798"/>
          </a:xfrm>
          <a:prstGeom prst="flowChartAlternateProcess">
            <a:avLst/>
          </a:prstGeom>
          <a:solidFill>
            <a:schemeClr val="bg1"/>
          </a:solidFill>
          <a:ln>
            <a:solidFill>
              <a:srgbClr val="F16038">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91E42"/>
              </a:solidFill>
              <a:effectLst/>
              <a:uLnTx/>
              <a:uFillTx/>
              <a:latin typeface="-apple-system"/>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913BACD7-780A-4ADE-8C26-F6443426109D}"/>
              </a:ext>
              <a:ext uri="{C183D7F6-B498-43B3-948B-1728B52AA6E4}">
                <adec:decorative xmlns:adec="http://schemas.microsoft.com/office/drawing/2017/decorative" val="1"/>
              </a:ext>
            </a:extLst>
          </p:cNvPr>
          <p:cNvSpPr txBox="1"/>
          <p:nvPr/>
        </p:nvSpPr>
        <p:spPr>
          <a:xfrm>
            <a:off x="193963" y="2685537"/>
            <a:ext cx="11339946" cy="2900794"/>
          </a:xfrm>
          <a:prstGeom prst="rect">
            <a:avLst/>
          </a:prstGeom>
          <a:noFill/>
        </p:spPr>
        <p:txBody>
          <a:bodyPr wrap="square" lIns="91440" tIns="45720" rIns="91440" bIns="45720" rtlCol="0" anchor="t">
            <a:spAutoFit/>
          </a:bodyPr>
          <a:lstStyle/>
          <a:p>
            <a:pPr marL="800100" marR="0" lvl="1"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a:ea typeface="+mn-ea"/>
                <a:cs typeface="Calibri"/>
              </a:rPr>
              <a:t>ASL videos—online option for STAAR (English language versions only)</a:t>
            </a:r>
          </a:p>
          <a:p>
            <a:pPr marL="796925" marR="0" lvl="1" indent="-339725" algn="l" defTabSz="914400" rtl="0" eaLnBrk="1" fontAlgn="auto" latinLnBrk="0" hangingPunct="1">
              <a:lnSpc>
                <a:spcPct val="90000"/>
              </a:lnSpc>
              <a:spcBef>
                <a:spcPts val="500"/>
              </a:spcBef>
              <a:spcAft>
                <a:spcPts val="0"/>
              </a:spcAft>
              <a:buClr>
                <a:srgbClr val="F16038"/>
              </a:buClr>
              <a:buSzTx/>
              <a:buFont typeface="Wingdings"/>
              <a:buChar char="§"/>
              <a:tabLst/>
              <a:defRPr/>
            </a:pPr>
            <a:r>
              <a:rPr kumimoji="0" lang="en-US" sz="2000" b="0" i="0" u="none" strike="noStrike" kern="1200" cap="none" spc="0" normalizeH="0" baseline="0" noProof="0">
                <a:ln>
                  <a:noFill/>
                </a:ln>
                <a:solidFill>
                  <a:srgbClr val="0D6CB9"/>
                </a:solidFill>
                <a:effectLst/>
                <a:uLnTx/>
                <a:uFillTx/>
                <a:latin typeface="Calibri"/>
                <a:ea typeface="+mn-ea"/>
                <a:cs typeface="Calibri"/>
              </a:rPr>
              <a:t>STAAR Spanish online—TTS is offered as a tool for oral reading support</a:t>
            </a:r>
          </a:p>
          <a:p>
            <a:pPr marL="800100" marR="0" lvl="1" indent="-342900" algn="l" defTabSz="914400" rtl="0" eaLnBrk="1" fontAlgn="auto" latinLnBrk="0" hangingPunct="1">
              <a:lnSpc>
                <a:spcPct val="100000"/>
              </a:lnSpc>
              <a:spcBef>
                <a:spcPts val="0"/>
              </a:spcBef>
              <a:spcAft>
                <a:spcPts val="0"/>
              </a:spcAft>
              <a:buClr>
                <a:srgbClr val="F16038"/>
              </a:buClr>
              <a:buSzTx/>
              <a:buFont typeface="Wingdings"/>
              <a:buChar char="§"/>
              <a:tabLst/>
              <a:defRPr/>
            </a:pPr>
            <a:r>
              <a:rPr kumimoji="0" lang="en-US" sz="2000" b="0" i="0" u="none" strike="noStrike" kern="1200" cap="none" spc="0" normalizeH="0" baseline="0" noProof="0">
                <a:ln>
                  <a:noFill/>
                </a:ln>
                <a:solidFill>
                  <a:srgbClr val="0D6CB9"/>
                </a:solidFill>
                <a:effectLst/>
                <a:uLnTx/>
                <a:uFillTx/>
                <a:latin typeface="Calibri"/>
                <a:ea typeface="+mn-ea"/>
                <a:cs typeface="Calibri"/>
              </a:rPr>
              <a:t>Revising passages, test questions, and answer choices can be read aloud for STAAR and STAAR Spanish PAPER writing selections. A titled cover page and footers above the page numbers of the test booklet will identify revising section</a:t>
            </a:r>
          </a:p>
          <a:p>
            <a:pPr marL="800100" marR="0" lvl="1" indent="-342900" algn="l" defTabSz="914400" rtl="0" eaLnBrk="1" fontAlgn="auto" latinLnBrk="0" hangingPunct="1">
              <a:lnSpc>
                <a:spcPct val="90000"/>
              </a:lnSpc>
              <a:spcBef>
                <a:spcPts val="500"/>
              </a:spcBef>
              <a:spcAft>
                <a:spcPts val="0"/>
              </a:spcAft>
              <a:buClr>
                <a:srgbClr val="F16038"/>
              </a:buClr>
              <a:buSzTx/>
              <a:buFont typeface="Wingdings"/>
              <a:buChar char="§"/>
              <a:tabLst/>
              <a:defRPr/>
            </a:pPr>
            <a:r>
              <a:rPr kumimoji="0" lang="en-US" sz="2000" b="0" i="0" u="none" strike="noStrike" kern="1200" cap="none" spc="0" normalizeH="0" baseline="0" noProof="0">
                <a:ln>
                  <a:noFill/>
                </a:ln>
                <a:solidFill>
                  <a:srgbClr val="0D6CB9"/>
                </a:solidFill>
                <a:effectLst/>
                <a:uLnTx/>
                <a:uFillTx/>
                <a:latin typeface="Calibri"/>
                <a:ea typeface="Calibri" charset="0"/>
                <a:cs typeface="Calibri"/>
              </a:rPr>
              <a:t>STAAR online with a screen reader support for refreshable braille displays is available for students taking a braille test</a:t>
            </a:r>
          </a:p>
          <a:p>
            <a:pPr marL="800100" marR="0" lvl="1" indent="-342900" algn="l" defTabSz="914400" rtl="0" eaLnBrk="1" fontAlgn="auto" latinLnBrk="0" hangingPunct="1">
              <a:lnSpc>
                <a:spcPct val="90000"/>
              </a:lnSpc>
              <a:spcBef>
                <a:spcPts val="500"/>
              </a:spcBef>
              <a:spcAft>
                <a:spcPts val="0"/>
              </a:spcAft>
              <a:buClr>
                <a:srgbClr val="F16038"/>
              </a:buClr>
              <a:buSzTx/>
              <a:buFont typeface="Wingdings"/>
              <a:buChar char="§"/>
              <a:tabLst/>
              <a:defRPr/>
            </a:pPr>
            <a:r>
              <a:rPr kumimoji="0" lang="en-US" sz="2000" b="0" i="0" u="none" strike="noStrike" kern="1200" cap="none" spc="0" normalizeH="0" baseline="0" noProof="0">
                <a:ln>
                  <a:noFill/>
                </a:ln>
                <a:solidFill>
                  <a:srgbClr val="0D6CB9"/>
                </a:solidFill>
                <a:effectLst/>
                <a:uLnTx/>
                <a:uFillTx/>
                <a:latin typeface="Calibri"/>
                <a:ea typeface="Calibri" charset="0"/>
                <a:cs typeface="Calibri"/>
              </a:rPr>
              <a:t>2023-2024 </a:t>
            </a:r>
            <a:r>
              <a:rPr kumimoji="0" lang="en-US" sz="2000" b="0" i="1" u="none" strike="noStrike" kern="1200" cap="none" spc="0" normalizeH="0" baseline="0" noProof="0">
                <a:ln>
                  <a:noFill/>
                </a:ln>
                <a:solidFill>
                  <a:srgbClr val="0D6CB9"/>
                </a:solidFill>
                <a:effectLst/>
                <a:uLnTx/>
                <a:uFillTx/>
                <a:latin typeface="Calibri"/>
                <a:ea typeface="Calibri" charset="0"/>
                <a:cs typeface="Calibri"/>
              </a:rPr>
              <a:t>STAAR Oral and Signed Administrations Educator Guide </a:t>
            </a:r>
            <a:r>
              <a:rPr kumimoji="0" lang="en-US" sz="2000" b="0" i="0" u="none" strike="noStrike" kern="1200" cap="none" spc="0" normalizeH="0" baseline="0" noProof="0">
                <a:ln>
                  <a:noFill/>
                </a:ln>
                <a:solidFill>
                  <a:srgbClr val="0D6CB9"/>
                </a:solidFill>
                <a:effectLst/>
                <a:uLnTx/>
                <a:uFillTx/>
                <a:latin typeface="Calibri"/>
                <a:ea typeface="Calibri" charset="0"/>
                <a:cs typeface="Calibri"/>
              </a:rPr>
              <a:t>available in DCCR and the Accommodation Resources webpage</a:t>
            </a:r>
          </a:p>
        </p:txBody>
      </p:sp>
      <p:pic>
        <p:nvPicPr>
          <p:cNvPr id="8" name="Picture 7">
            <a:extLst>
              <a:ext uri="{FF2B5EF4-FFF2-40B4-BE49-F238E27FC236}">
                <a16:creationId xmlns:a16="http://schemas.microsoft.com/office/drawing/2014/main" id="{AD283F24-A57D-4B65-A0E8-244D7ED29049}"/>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1" y="205789"/>
            <a:ext cx="1670449" cy="646232"/>
          </a:xfrm>
          <a:prstGeom prst="rect">
            <a:avLst/>
          </a:prstGeom>
        </p:spPr>
      </p:pic>
      <p:sp>
        <p:nvSpPr>
          <p:cNvPr id="14" name="Slide Number Placeholder 13">
            <a:extLst>
              <a:ext uri="{FF2B5EF4-FFF2-40B4-BE49-F238E27FC236}">
                <a16:creationId xmlns:a16="http://schemas.microsoft.com/office/drawing/2014/main" id="{C22208FD-7042-4EB1-AE0F-2039A14431F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9662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from the dccr about oral administrations">
            <a:extLst>
              <a:ext uri="{FF2B5EF4-FFF2-40B4-BE49-F238E27FC236}">
                <a16:creationId xmlns:a16="http://schemas.microsoft.com/office/drawing/2014/main" id="{BFA91BEA-1134-43A4-B543-CA11E86186CC}"/>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2495386939"/>
              </p:ext>
            </p:extLst>
          </p:nvPr>
        </p:nvGraphicFramePr>
        <p:xfrm>
          <a:off x="256309" y="845129"/>
          <a:ext cx="11679382" cy="15586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Flowchart: Alternate Process 4">
            <a:extLst>
              <a:ext uri="{FF2B5EF4-FFF2-40B4-BE49-F238E27FC236}">
                <a16:creationId xmlns:a16="http://schemas.microsoft.com/office/drawing/2014/main" id="{F25CED58-C882-49EC-9DD9-51EC89745339}"/>
              </a:ext>
              <a:ext uri="{C183D7F6-B498-43B3-948B-1728B52AA6E4}">
                <adec:decorative xmlns:adec="http://schemas.microsoft.com/office/drawing/2017/decorative" val="1"/>
              </a:ext>
            </a:extLst>
          </p:cNvPr>
          <p:cNvSpPr/>
          <p:nvPr/>
        </p:nvSpPr>
        <p:spPr>
          <a:xfrm>
            <a:off x="256309" y="1415144"/>
            <a:ext cx="11679382" cy="988622"/>
          </a:xfrm>
          <a:prstGeom prst="flowChartAlternateProcess">
            <a:avLst/>
          </a:prstGeom>
          <a:solidFill>
            <a:srgbClr val="F16038">
              <a:alpha val="34000"/>
            </a:srgbClr>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D6CB9"/>
                </a:solidFill>
                <a:effectLst/>
                <a:uLnTx/>
                <a:uFillTx/>
                <a:latin typeface="Calibri" panose="020F0502020204030204"/>
                <a:ea typeface="+mn-ea"/>
                <a:cs typeface="+mn-cs"/>
              </a:rPr>
              <a:t>Oral/Signed Administration Policy Highlights</a:t>
            </a:r>
            <a:endParaRPr kumimoji="0" lang="en-US" sz="1800" b="0" i="0" u="none" strike="noStrike" kern="1200" cap="none" spc="0" normalizeH="0" baseline="0" noProof="0">
              <a:ln>
                <a:noFill/>
              </a:ln>
              <a:solidFill>
                <a:srgbClr val="0D6CB9"/>
              </a:solidFill>
              <a:effectLst/>
              <a:uLnTx/>
              <a:uFillTx/>
              <a:latin typeface="Calibri" panose="020F0502020204030204"/>
              <a:ea typeface="+mn-ea"/>
              <a:cs typeface="+mn-cs"/>
            </a:endParaRPr>
          </a:p>
        </p:txBody>
      </p:sp>
      <p:sp>
        <p:nvSpPr>
          <p:cNvPr id="7" name="Flowchart: Alternate Process 6">
            <a:extLst>
              <a:ext uri="{FF2B5EF4-FFF2-40B4-BE49-F238E27FC236}">
                <a16:creationId xmlns:a16="http://schemas.microsoft.com/office/drawing/2014/main" id="{07FEED81-9F04-4E8D-A787-D33E55833A2E}"/>
              </a:ext>
              <a:ext uri="{C183D7F6-B498-43B3-948B-1728B52AA6E4}">
                <adec:decorative xmlns:adec="http://schemas.microsoft.com/office/drawing/2017/decorative" val="1"/>
              </a:ext>
            </a:extLst>
          </p:cNvPr>
          <p:cNvSpPr/>
          <p:nvPr/>
        </p:nvSpPr>
        <p:spPr>
          <a:xfrm>
            <a:off x="256309" y="2489200"/>
            <a:ext cx="11679381" cy="3438250"/>
          </a:xfrm>
          <a:prstGeom prst="flowChartAlternateProcess">
            <a:avLst/>
          </a:prstGeom>
          <a:solidFill>
            <a:schemeClr val="bg1"/>
          </a:solidFill>
          <a:ln>
            <a:solidFill>
              <a:srgbClr val="F16038">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91E42"/>
              </a:solidFill>
              <a:effectLst/>
              <a:uLnTx/>
              <a:uFillTx/>
              <a:latin typeface="-apple-system"/>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913BACD7-780A-4ADE-8C26-F6443426109D}"/>
              </a:ext>
              <a:ext uri="{C183D7F6-B498-43B3-948B-1728B52AA6E4}">
                <adec:decorative xmlns:adec="http://schemas.microsoft.com/office/drawing/2017/decorative" val="1"/>
              </a:ext>
            </a:extLst>
          </p:cNvPr>
          <p:cNvSpPr txBox="1"/>
          <p:nvPr/>
        </p:nvSpPr>
        <p:spPr>
          <a:xfrm>
            <a:off x="-280060" y="2732839"/>
            <a:ext cx="11339946" cy="3172663"/>
          </a:xfrm>
          <a:prstGeom prst="rect">
            <a:avLst/>
          </a:prstGeom>
          <a:noFill/>
        </p:spPr>
        <p:txBody>
          <a:bodyPr wrap="square" rtlCol="0">
            <a:spAutoFit/>
          </a:bodyPr>
          <a:lstStyle/>
          <a:p>
            <a:pPr marL="1257300" marR="0" lvl="2" indent="-342900" algn="l" defTabSz="914400" rtl="0" eaLnBrk="1" fontAlgn="auto" latinLnBrk="0" hangingPunct="1">
              <a:lnSpc>
                <a:spcPct val="90000"/>
              </a:lnSpc>
              <a:spcBef>
                <a:spcPts val="50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Oral administration can include different levels of reading support for a student.</a:t>
            </a:r>
          </a:p>
          <a:p>
            <a:pPr marL="1714500" marR="0" lvl="3" indent="-342900" algn="l" defTabSz="914400" rtl="0" eaLnBrk="1" fontAlgn="auto" latinLnBrk="0" hangingPunct="1">
              <a:lnSpc>
                <a:spcPct val="100000"/>
              </a:lnSpc>
              <a:spcBef>
                <a:spcPts val="0"/>
              </a:spcBef>
              <a:spcAft>
                <a:spcPts val="0"/>
              </a:spcAft>
              <a:buClr>
                <a:srgbClr val="F16038"/>
              </a:buClr>
              <a:buSzTx/>
              <a:buFont typeface="Wingdings"/>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Read all parts of the test question and answer choices at student request</a:t>
            </a:r>
          </a:p>
          <a:p>
            <a:pPr marL="1714500" marR="0" lvl="3" indent="-342900" algn="l" defTabSz="914400" rtl="0" eaLnBrk="1" fontAlgn="auto" latinLnBrk="0" hangingPunct="1">
              <a:lnSpc>
                <a:spcPct val="90000"/>
              </a:lnSpc>
              <a:spcBef>
                <a:spcPts val="500"/>
              </a:spcBef>
              <a:spcAft>
                <a:spcPts val="0"/>
              </a:spcAft>
              <a:buClr>
                <a:srgbClr val="F16038"/>
              </a:buClr>
              <a:buSzTx/>
              <a:buFont typeface="Wingdings"/>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Read all test questions and answer choices throughout</a:t>
            </a:r>
          </a:p>
          <a:p>
            <a:pPr marL="1714500" marR="0" lvl="3" indent="-342900" algn="l" defTabSz="914400" rtl="0" eaLnBrk="1" fontAlgn="auto" latinLnBrk="0" hangingPunct="1">
              <a:lnSpc>
                <a:spcPct val="100000"/>
              </a:lnSpc>
              <a:spcBef>
                <a:spcPts val="0"/>
              </a:spcBef>
              <a:spcAft>
                <a:spcPts val="0"/>
              </a:spcAft>
              <a:buClr>
                <a:srgbClr val="F16038"/>
              </a:buClr>
              <a:buSzTx/>
              <a:buFont typeface="Wingdings"/>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Text-to-speech (TTS) tool is an online option for oral administration and allows a student to independently select and change his or her level of reading support. Students may also be registered for “Auto TTS” prior to the test </a:t>
            </a:r>
          </a:p>
          <a:p>
            <a:pPr marL="2171700" marR="0" lvl="4" indent="-342900" algn="l" defTabSz="914400" rtl="0" eaLnBrk="1" fontAlgn="auto" latinLnBrk="0" hangingPunct="1">
              <a:lnSpc>
                <a:spcPct val="100000"/>
              </a:lnSpc>
              <a:spcBef>
                <a:spcPts val="0"/>
              </a:spcBef>
              <a:spcAft>
                <a:spcPts val="0"/>
              </a:spcAft>
              <a:buClr>
                <a:srgbClr val="F16038"/>
              </a:buClr>
              <a:buSzTx/>
              <a:buFont typeface="Wingdings"/>
              <a:buChar char="§"/>
              <a:tabLst/>
              <a:defRPr/>
            </a:pPr>
            <a:r>
              <a:rPr kumimoji="0" lang="en-US" sz="2000" b="1" i="0" u="none" strike="noStrike" kern="1200" cap="none" spc="0" normalizeH="0" baseline="0" noProof="0">
                <a:ln>
                  <a:noFill/>
                </a:ln>
                <a:solidFill>
                  <a:srgbClr val="0D6CB9"/>
                </a:solidFill>
                <a:effectLst/>
                <a:uLnTx/>
                <a:uFillTx/>
                <a:latin typeface="Calibri" panose="020F0502020204030204"/>
                <a:ea typeface="Calibri" charset="0"/>
                <a:cs typeface="Calibri"/>
              </a:rPr>
              <a:t>NOTE</a:t>
            </a:r>
            <a:r>
              <a:rPr kumimoji="0" lang="en-US" sz="2000" b="0" i="0" u="none" strike="noStrike" kern="1200" cap="none" spc="0" normalizeH="0" baseline="0" noProof="0">
                <a:ln>
                  <a:noFill/>
                </a:ln>
                <a:solidFill>
                  <a:srgbClr val="0D6CB9"/>
                </a:solidFill>
                <a:effectLst/>
                <a:uLnTx/>
                <a:uFillTx/>
                <a:latin typeface="Calibri" panose="020F0502020204030204"/>
                <a:ea typeface="Calibri" charset="0"/>
                <a:cs typeface="Calibri"/>
              </a:rPr>
              <a:t>: A student can request a change in the level of reading support during testing IF this option is documented. Changes involving removal or addition of Auto TTS will require pausing the student’s test. </a:t>
            </a:r>
          </a:p>
          <a:p>
            <a:pPr marL="457200" marR="0" lvl="1"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000" b="0" i="0" u="none" strike="noStrike" kern="1200" cap="none" spc="0" normalizeH="0" baseline="0" noProof="0">
              <a:ln>
                <a:noFill/>
              </a:ln>
              <a:solidFill>
                <a:srgbClr val="000000"/>
              </a:solidFill>
              <a:effectLst/>
              <a:uLnTx/>
              <a:uFillTx/>
              <a:latin typeface="Calibri"/>
              <a:ea typeface="Calibri" charset="0"/>
              <a:cs typeface="Calibri"/>
            </a:endParaRPr>
          </a:p>
        </p:txBody>
      </p:sp>
      <p:pic>
        <p:nvPicPr>
          <p:cNvPr id="8" name="Picture 7">
            <a:extLst>
              <a:ext uri="{FF2B5EF4-FFF2-40B4-BE49-F238E27FC236}">
                <a16:creationId xmlns:a16="http://schemas.microsoft.com/office/drawing/2014/main" id="{432E50E3-E5CF-41F1-AC88-A2CFA4ECAC60}"/>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1" y="176064"/>
            <a:ext cx="1670449" cy="646232"/>
          </a:xfrm>
          <a:prstGeom prst="rect">
            <a:avLst/>
          </a:prstGeom>
        </p:spPr>
      </p:pic>
      <p:sp>
        <p:nvSpPr>
          <p:cNvPr id="14" name="Slide Number Placeholder 13">
            <a:extLst>
              <a:ext uri="{FF2B5EF4-FFF2-40B4-BE49-F238E27FC236}">
                <a16:creationId xmlns:a16="http://schemas.microsoft.com/office/drawing/2014/main" id="{8F859936-BCD0-40BC-B2D3-E7ABCD449443}"/>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681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FAEBBF3-DDD4-AC8B-5F08-4775A57C9D11}"/>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8CD65932-10D2-412B-7322-8AA96644B9CB}"/>
              </a:ext>
              <a:ext uri="{C183D7F6-B498-43B3-948B-1728B52AA6E4}">
                <adec:decorative xmlns:adec="http://schemas.microsoft.com/office/drawing/2017/decorative" val="1"/>
              </a:ext>
            </a:extLst>
          </p:cNvPr>
          <p:cNvGrpSpPr/>
          <p:nvPr/>
        </p:nvGrpSpPr>
        <p:grpSpPr>
          <a:xfrm>
            <a:off x="309900" y="904118"/>
            <a:ext cx="11670759" cy="646232"/>
            <a:chOff x="8622" y="-3241"/>
            <a:chExt cx="11670759" cy="917717"/>
          </a:xfrm>
        </p:grpSpPr>
        <p:sp>
          <p:nvSpPr>
            <p:cNvPr id="5" name="Rectangle: Rounded Corners 4">
              <a:extLst>
                <a:ext uri="{FF2B5EF4-FFF2-40B4-BE49-F238E27FC236}">
                  <a16:creationId xmlns:a16="http://schemas.microsoft.com/office/drawing/2014/main" id="{34BA5793-3211-3E14-F13E-A52479C1DB75}"/>
                </a:ext>
              </a:extLst>
            </p:cNvPr>
            <p:cNvSpPr/>
            <p:nvPr/>
          </p:nvSpPr>
          <p:spPr>
            <a:xfrm>
              <a:off x="8622" y="0"/>
              <a:ext cx="11670759" cy="914476"/>
            </a:xfrm>
            <a:prstGeom prst="roundRect">
              <a:avLst>
                <a:gd name="adj" fmla="val 10000"/>
              </a:avLst>
            </a:prstGeom>
            <a:solidFill>
              <a:srgbClr val="F1603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Rounded Corners 4">
              <a:extLst>
                <a:ext uri="{FF2B5EF4-FFF2-40B4-BE49-F238E27FC236}">
                  <a16:creationId xmlns:a16="http://schemas.microsoft.com/office/drawing/2014/main" id="{80EE2842-0ED4-1330-39AB-896505EBB7D3}"/>
                </a:ext>
              </a:extLst>
            </p:cNvPr>
            <p:cNvSpPr txBox="1"/>
            <p:nvPr/>
          </p:nvSpPr>
          <p:spPr>
            <a:xfrm>
              <a:off x="62190" y="-3241"/>
              <a:ext cx="11617191" cy="5532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t"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Oral/Signed Administration </a:t>
              </a: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continued):</a:t>
              </a: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 name="Title 1">
            <a:extLst>
              <a:ext uri="{FF2B5EF4-FFF2-40B4-BE49-F238E27FC236}">
                <a16:creationId xmlns:a16="http://schemas.microsoft.com/office/drawing/2014/main" id="{CF50108D-8E16-F022-152D-0AF5FF480B00}"/>
              </a:ext>
            </a:extLst>
          </p:cNvPr>
          <p:cNvSpPr>
            <a:spLocks noGrp="1"/>
          </p:cNvSpPr>
          <p:nvPr>
            <p:ph type="title"/>
          </p:nvPr>
        </p:nvSpPr>
        <p:spPr>
          <a:xfrm>
            <a:off x="309900" y="88870"/>
            <a:ext cx="11122025" cy="750887"/>
          </a:xfrm>
        </p:spPr>
        <p:txBody>
          <a:bodyPr>
            <a:normAutofit/>
          </a:bodyPr>
          <a:lstStyle/>
          <a:p>
            <a:r>
              <a:rPr lang="en-US" dirty="0"/>
              <a:t>Designated Supports (Locally Approved)</a:t>
            </a:r>
          </a:p>
        </p:txBody>
      </p:sp>
      <p:pic>
        <p:nvPicPr>
          <p:cNvPr id="8" name="Picture 7">
            <a:extLst>
              <a:ext uri="{FF2B5EF4-FFF2-40B4-BE49-F238E27FC236}">
                <a16:creationId xmlns:a16="http://schemas.microsoft.com/office/drawing/2014/main" id="{88E2B8D5-D574-8715-A09A-8794FA5316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239826" y="153230"/>
            <a:ext cx="1670449" cy="646232"/>
          </a:xfrm>
          <a:prstGeom prst="rect">
            <a:avLst/>
          </a:prstGeom>
        </p:spPr>
      </p:pic>
      <p:sp>
        <p:nvSpPr>
          <p:cNvPr id="15" name="Explosion: 8 Points 5" descr="New icon">
            <a:extLst>
              <a:ext uri="{FF2B5EF4-FFF2-40B4-BE49-F238E27FC236}">
                <a16:creationId xmlns:a16="http://schemas.microsoft.com/office/drawing/2014/main" id="{532DDC84-AC5C-63AE-F12D-B267781E3B85}"/>
              </a:ext>
            </a:extLst>
          </p:cNvPr>
          <p:cNvSpPr/>
          <p:nvPr/>
        </p:nvSpPr>
        <p:spPr>
          <a:xfrm>
            <a:off x="8250809" y="87933"/>
            <a:ext cx="2331466" cy="1140442"/>
          </a:xfrm>
          <a:prstGeom prst="irregularSeal1">
            <a:avLst/>
          </a:prstGeom>
          <a:solidFill>
            <a:schemeClr val="accent2"/>
          </a:solidFill>
          <a:ln w="444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panose="020F0502020204030204"/>
                <a:ea typeface="+mn-ea"/>
                <a:cs typeface="+mn-cs"/>
              </a:rPr>
              <a:t>Updated</a:t>
            </a:r>
            <a:endPar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68B5D418-4E8E-C4CC-9B86-FAC2419394A0}"/>
              </a:ext>
            </a:extLst>
          </p:cNvPr>
          <p:cNvSpPr txBox="1"/>
          <p:nvPr/>
        </p:nvSpPr>
        <p:spPr>
          <a:xfrm>
            <a:off x="314669" y="2111032"/>
            <a:ext cx="11652598" cy="2758202"/>
          </a:xfrm>
          <a:prstGeom prst="roundRect">
            <a:avLst/>
          </a:prstGeom>
          <a:noFill/>
          <a:ln w="12700">
            <a:solidFill>
              <a:schemeClr val="accent2"/>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D6CB9"/>
                </a:solidFill>
                <a:effectLst/>
                <a:uLnTx/>
                <a:uFillTx/>
                <a:latin typeface="Calibri" panose="020F0502020204030204"/>
                <a:ea typeface="+mn-ea"/>
                <a:cs typeface="+mn-cs"/>
              </a:rPr>
              <a:t>Students participating in a STAAR online administration who need test questions, including short and extended constructed response questions, to be read aloud must have Text-to-Speech (TTS) turned on to receive this support.</a:t>
            </a: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	</a:t>
            </a:r>
            <a:endParaRPr kumimoji="0" lang="en-US" sz="1800" b="0" i="0" u="none" strike="noStrike" kern="1200" cap="none" spc="0" normalizeH="0" baseline="0" noProof="0">
              <a:ln>
                <a:noFill/>
              </a:ln>
              <a:solidFill>
                <a:srgbClr val="0D6CB9"/>
              </a:solidFill>
              <a:effectLst/>
              <a:uLnTx/>
              <a:uFillTx/>
              <a:latin typeface="Calibri" panose="020F0502020204030204"/>
              <a:ea typeface="Calibri"/>
              <a:cs typeface="Calibri"/>
            </a:endParaRPr>
          </a:p>
          <a:p>
            <a:pPr marL="45720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1800" b="0" i="0" u="none" strike="noStrike" kern="1200" cap="none" spc="0" normalizeH="0" baseline="0" noProof="0">
                <a:ln>
                  <a:noFill/>
                </a:ln>
                <a:solidFill>
                  <a:srgbClr val="0D6CB9"/>
                </a:solidFill>
                <a:effectLst/>
                <a:uLnTx/>
                <a:uFillTx/>
                <a:latin typeface="Calibri" panose="020F0502020204030204"/>
                <a:ea typeface="+mn-ea"/>
                <a:cs typeface="+mn-cs"/>
              </a:rPr>
              <a:t>Students </a:t>
            </a:r>
            <a:r>
              <a:rPr kumimoji="0" lang="en-US" sz="1800" b="1" i="0" u="none" strike="noStrike" kern="1200" cap="none" spc="0" normalizeH="0" baseline="0" noProof="0">
                <a:ln>
                  <a:noFill/>
                </a:ln>
                <a:solidFill>
                  <a:srgbClr val="0D6CB9"/>
                </a:solidFill>
                <a:effectLst/>
                <a:uLnTx/>
                <a:uFillTx/>
                <a:latin typeface="Calibri" panose="020F0502020204030204"/>
                <a:ea typeface="+mn-ea"/>
                <a:cs typeface="+mn-cs"/>
              </a:rPr>
              <a:t>must </a:t>
            </a:r>
            <a:r>
              <a:rPr kumimoji="0" lang="en-US" sz="1800" b="0" i="0" u="none" strike="noStrike" kern="1200" cap="none" spc="0" normalizeH="0" baseline="0" noProof="0">
                <a:ln>
                  <a:noFill/>
                </a:ln>
                <a:solidFill>
                  <a:srgbClr val="0D6CB9"/>
                </a:solidFill>
                <a:effectLst/>
                <a:uLnTx/>
                <a:uFillTx/>
                <a:latin typeface="Calibri" panose="020F0502020204030204"/>
                <a:ea typeface="+mn-ea"/>
                <a:cs typeface="+mn-cs"/>
              </a:rPr>
              <a:t>meet eligibility requirements for oral administration prior to the administration of the test. </a:t>
            </a:r>
            <a:endParaRPr kumimoji="0" lang="en-US" sz="1800" b="0" i="0" u="none" strike="noStrike" kern="1200" cap="none" spc="0" normalizeH="0" baseline="0" noProof="0">
              <a:ln>
                <a:noFill/>
              </a:ln>
              <a:solidFill>
                <a:srgbClr val="0D6CB9"/>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1800" b="0" i="0" u="none" strike="noStrike" kern="1200" cap="none" spc="0" normalizeH="0" baseline="0" noProof="0">
              <a:ln>
                <a:noFill/>
              </a:ln>
              <a:solidFill>
                <a:srgbClr val="0D6CB9"/>
              </a:solidFill>
              <a:effectLst/>
              <a:uLnTx/>
              <a:uFillTx/>
              <a:latin typeface="Calibri" panose="020F0502020204030204"/>
              <a:ea typeface="+mn-ea"/>
              <a:cs typeface="+mn-cs"/>
            </a:endParaRPr>
          </a:p>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D6CB9"/>
                </a:solidFill>
                <a:effectLst/>
                <a:uLnTx/>
                <a:uFillTx/>
                <a:latin typeface="Calibri" panose="020F0502020204030204"/>
                <a:ea typeface="+mn-ea"/>
                <a:cs typeface="+mn-cs"/>
              </a:rPr>
              <a:t>Test administrators should </a:t>
            </a:r>
            <a:r>
              <a:rPr kumimoji="0" lang="en-US" sz="1800" b="1" i="0" u="none" strike="noStrike" kern="1200" cap="none" spc="0" normalizeH="0" baseline="0" noProof="0">
                <a:ln>
                  <a:noFill/>
                </a:ln>
                <a:solidFill>
                  <a:srgbClr val="0D6CB9"/>
                </a:solidFill>
                <a:effectLst/>
                <a:uLnTx/>
                <a:uFillTx/>
                <a:latin typeface="Calibri" panose="020F0502020204030204"/>
                <a:ea typeface="+mn-ea"/>
                <a:cs typeface="+mn-cs"/>
              </a:rPr>
              <a:t>not</a:t>
            </a:r>
            <a:r>
              <a:rPr kumimoji="0" lang="en-US" sz="1800" b="0" i="0" u="none" strike="noStrike" kern="1200" cap="none" spc="0" normalizeH="0" baseline="0" noProof="0">
                <a:ln>
                  <a:noFill/>
                </a:ln>
                <a:solidFill>
                  <a:srgbClr val="0D6CB9"/>
                </a:solidFill>
                <a:effectLst/>
                <a:uLnTx/>
                <a:uFillTx/>
                <a:latin typeface="Calibri" panose="020F0502020204030204"/>
                <a:ea typeface="+mn-ea"/>
                <a:cs typeface="+mn-cs"/>
              </a:rPr>
              <a:t> be providing this support by reading the secure test content from the screen.</a:t>
            </a:r>
            <a:endParaRPr kumimoji="0" lang="en-US" sz="1800" b="0" i="0" u="none" strike="noStrike" kern="1200" cap="none" spc="0" normalizeH="0" baseline="0" noProof="0">
              <a:ln>
                <a:noFill/>
              </a:ln>
              <a:solidFill>
                <a:srgbClr val="0D6CB9"/>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endParaRPr>
          </a:p>
        </p:txBody>
      </p:sp>
      <p:sp>
        <p:nvSpPr>
          <p:cNvPr id="11" name="Flowchart: Alternate Process 10">
            <a:extLst>
              <a:ext uri="{FF2B5EF4-FFF2-40B4-BE49-F238E27FC236}">
                <a16:creationId xmlns:a16="http://schemas.microsoft.com/office/drawing/2014/main" id="{9ECDBBB3-2203-3831-A9FF-9D0A843D78D3}"/>
              </a:ext>
              <a:ext uri="{C183D7F6-B498-43B3-948B-1728B52AA6E4}">
                <adec:decorative xmlns:adec="http://schemas.microsoft.com/office/drawing/2017/decorative" val="1"/>
              </a:ext>
            </a:extLst>
          </p:cNvPr>
          <p:cNvSpPr/>
          <p:nvPr/>
        </p:nvSpPr>
        <p:spPr>
          <a:xfrm>
            <a:off x="301277" y="1585251"/>
            <a:ext cx="11679382" cy="471722"/>
          </a:xfrm>
          <a:prstGeom prst="flowChartAlternateProcess">
            <a:avLst/>
          </a:prstGeom>
          <a:solidFill>
            <a:srgbClr val="F16038">
              <a:alpha val="34000"/>
            </a:srgbClr>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D6CB9"/>
                </a:solidFill>
                <a:effectLst/>
                <a:uLnTx/>
                <a:uFillTx/>
                <a:latin typeface="Calibri" panose="020F0502020204030204"/>
                <a:ea typeface="Open Sans"/>
                <a:cs typeface="Calibri"/>
              </a:rPr>
              <a:t>Constructed Response Questions</a:t>
            </a:r>
          </a:p>
        </p:txBody>
      </p:sp>
      <p:pic>
        <p:nvPicPr>
          <p:cNvPr id="2" name="Graphic 1">
            <a:extLst>
              <a:ext uri="{FF2B5EF4-FFF2-40B4-BE49-F238E27FC236}">
                <a16:creationId xmlns:a16="http://schemas.microsoft.com/office/drawing/2014/main" id="{36DF48AF-0EC7-1BB0-C460-1CA45DE1B52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1819" y="3490133"/>
            <a:ext cx="440145" cy="440145"/>
          </a:xfrm>
          <a:prstGeom prst="rect">
            <a:avLst/>
          </a:prstGeom>
        </p:spPr>
      </p:pic>
      <p:pic>
        <p:nvPicPr>
          <p:cNvPr id="9" name="Graphic 8">
            <a:extLst>
              <a:ext uri="{FF2B5EF4-FFF2-40B4-BE49-F238E27FC236}">
                <a16:creationId xmlns:a16="http://schemas.microsoft.com/office/drawing/2014/main" id="{9B550D96-DD34-EC9E-84BA-70E1208703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1819" y="4027551"/>
            <a:ext cx="440145" cy="440145"/>
          </a:xfrm>
          <a:prstGeom prst="rect">
            <a:avLst/>
          </a:prstGeom>
        </p:spPr>
      </p:pic>
      <p:sp>
        <p:nvSpPr>
          <p:cNvPr id="14" name="Rectangle: Rounded Corners 13">
            <a:extLst>
              <a:ext uri="{FF2B5EF4-FFF2-40B4-BE49-F238E27FC236}">
                <a16:creationId xmlns:a16="http://schemas.microsoft.com/office/drawing/2014/main" id="{5A39D74B-9665-297C-6CE2-ECF993017C01}"/>
              </a:ext>
            </a:extLst>
          </p:cNvPr>
          <p:cNvSpPr/>
          <p:nvPr/>
        </p:nvSpPr>
        <p:spPr>
          <a:xfrm>
            <a:off x="345764" y="4966507"/>
            <a:ext cx="11590407" cy="895350"/>
          </a:xfrm>
          <a:prstGeom prst="roundRect">
            <a:avLst/>
          </a:prstGeom>
          <a:solidFill>
            <a:schemeClr val="bg1"/>
          </a:solid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Note: For students participating in a STAAR paper administration, the test administrator train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 in oral administration will provide this support.  </a:t>
            </a:r>
            <a:endParaRPr kumimoji="0" lang="en-US" sz="2000" b="0" i="0" u="none" strike="noStrike" kern="1200" cap="none" spc="0" normalizeH="0" baseline="0" noProof="0">
              <a:ln>
                <a:noFill/>
              </a:ln>
              <a:solidFill>
                <a:srgbClr val="0D6CB9"/>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25848420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FAEBBF3-DDD4-AC8B-5F08-4775A57C9D11}"/>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8CD65932-10D2-412B-7322-8AA96644B9CB}"/>
              </a:ext>
              <a:ext uri="{C183D7F6-B498-43B3-948B-1728B52AA6E4}">
                <adec:decorative xmlns:adec="http://schemas.microsoft.com/office/drawing/2017/decorative" val="1"/>
              </a:ext>
            </a:extLst>
          </p:cNvPr>
          <p:cNvGrpSpPr/>
          <p:nvPr/>
        </p:nvGrpSpPr>
        <p:grpSpPr>
          <a:xfrm>
            <a:off x="309900" y="904118"/>
            <a:ext cx="11670759" cy="646232"/>
            <a:chOff x="8622" y="-3241"/>
            <a:chExt cx="11670759" cy="917717"/>
          </a:xfrm>
        </p:grpSpPr>
        <p:sp>
          <p:nvSpPr>
            <p:cNvPr id="5" name="Rectangle: Rounded Corners 4">
              <a:extLst>
                <a:ext uri="{FF2B5EF4-FFF2-40B4-BE49-F238E27FC236}">
                  <a16:creationId xmlns:a16="http://schemas.microsoft.com/office/drawing/2014/main" id="{34BA5793-3211-3E14-F13E-A52479C1DB75}"/>
                </a:ext>
              </a:extLst>
            </p:cNvPr>
            <p:cNvSpPr/>
            <p:nvPr/>
          </p:nvSpPr>
          <p:spPr>
            <a:xfrm>
              <a:off x="8622" y="0"/>
              <a:ext cx="11670759" cy="914476"/>
            </a:xfrm>
            <a:prstGeom prst="roundRect">
              <a:avLst>
                <a:gd name="adj" fmla="val 10000"/>
              </a:avLst>
            </a:prstGeom>
            <a:solidFill>
              <a:srgbClr val="F1603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Rounded Corners 4">
              <a:extLst>
                <a:ext uri="{FF2B5EF4-FFF2-40B4-BE49-F238E27FC236}">
                  <a16:creationId xmlns:a16="http://schemas.microsoft.com/office/drawing/2014/main" id="{80EE2842-0ED4-1330-39AB-896505EBB7D3}"/>
                </a:ext>
              </a:extLst>
            </p:cNvPr>
            <p:cNvSpPr txBox="1"/>
            <p:nvPr/>
          </p:nvSpPr>
          <p:spPr>
            <a:xfrm>
              <a:off x="62190" y="-3241"/>
              <a:ext cx="11617191" cy="5532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t"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Oral/Signed Administration </a:t>
              </a: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continued):</a:t>
              </a: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 name="Title 1">
            <a:extLst>
              <a:ext uri="{FF2B5EF4-FFF2-40B4-BE49-F238E27FC236}">
                <a16:creationId xmlns:a16="http://schemas.microsoft.com/office/drawing/2014/main" id="{CF50108D-8E16-F022-152D-0AF5FF480B00}"/>
              </a:ext>
            </a:extLst>
          </p:cNvPr>
          <p:cNvSpPr>
            <a:spLocks noGrp="1"/>
          </p:cNvSpPr>
          <p:nvPr>
            <p:ph type="title"/>
          </p:nvPr>
        </p:nvSpPr>
        <p:spPr>
          <a:xfrm>
            <a:off x="309900" y="88870"/>
            <a:ext cx="11122025" cy="750887"/>
          </a:xfrm>
        </p:spPr>
        <p:txBody>
          <a:bodyPr>
            <a:normAutofit/>
          </a:bodyPr>
          <a:lstStyle/>
          <a:p>
            <a:r>
              <a:rPr lang="en-US" dirty="0"/>
              <a:t>Designated Supports (Locally Approved)</a:t>
            </a:r>
          </a:p>
        </p:txBody>
      </p:sp>
      <p:pic>
        <p:nvPicPr>
          <p:cNvPr id="8" name="Picture 7">
            <a:extLst>
              <a:ext uri="{FF2B5EF4-FFF2-40B4-BE49-F238E27FC236}">
                <a16:creationId xmlns:a16="http://schemas.microsoft.com/office/drawing/2014/main" id="{88E2B8D5-D574-8715-A09A-8794FA5316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239826" y="153230"/>
            <a:ext cx="1670449" cy="646232"/>
          </a:xfrm>
          <a:prstGeom prst="rect">
            <a:avLst/>
          </a:prstGeom>
        </p:spPr>
      </p:pic>
      <p:sp>
        <p:nvSpPr>
          <p:cNvPr id="11" name="Flowchart: Alternate Process 10">
            <a:extLst>
              <a:ext uri="{FF2B5EF4-FFF2-40B4-BE49-F238E27FC236}">
                <a16:creationId xmlns:a16="http://schemas.microsoft.com/office/drawing/2014/main" id="{9ECDBBB3-2203-3831-A9FF-9D0A843D78D3}"/>
              </a:ext>
              <a:ext uri="{C183D7F6-B498-43B3-948B-1728B52AA6E4}">
                <adec:decorative xmlns:adec="http://schemas.microsoft.com/office/drawing/2017/decorative" val="1"/>
              </a:ext>
            </a:extLst>
          </p:cNvPr>
          <p:cNvSpPr/>
          <p:nvPr/>
        </p:nvSpPr>
        <p:spPr>
          <a:xfrm>
            <a:off x="301277" y="1585251"/>
            <a:ext cx="11679382" cy="471722"/>
          </a:xfrm>
          <a:prstGeom prst="flowChartAlternateProcess">
            <a:avLst/>
          </a:prstGeom>
          <a:solidFill>
            <a:srgbClr val="F16038">
              <a:alpha val="34000"/>
            </a:srgbClr>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D6CB9"/>
                </a:solidFill>
                <a:effectLst/>
                <a:uLnTx/>
                <a:uFillTx/>
                <a:latin typeface="Calibri" panose="020F0502020204030204"/>
                <a:ea typeface="Open Sans" charset="0"/>
                <a:cs typeface="Calibri"/>
              </a:rPr>
              <a:t>Example of a </a:t>
            </a:r>
            <a:r>
              <a:rPr kumimoji="0" lang="en-US" sz="2400" b="1" i="0" u="none" strike="noStrike" kern="1200" cap="none" spc="0" normalizeH="0" baseline="0" noProof="0" dirty="0">
                <a:ln>
                  <a:noFill/>
                </a:ln>
                <a:solidFill>
                  <a:srgbClr val="0D6CB9"/>
                </a:solidFill>
                <a:effectLst/>
                <a:uLnTx/>
                <a:uFillTx/>
                <a:latin typeface="Calibri" panose="020F0502020204030204"/>
                <a:ea typeface="Open Sans" charset="0"/>
                <a:cs typeface="Calibri"/>
              </a:rPr>
              <a:t>Constructed Response</a:t>
            </a:r>
            <a:r>
              <a:rPr kumimoji="0" lang="en-US" sz="2400" b="1" i="0" u="none" strike="noStrike" kern="1200" cap="none" spc="0" normalizeH="0" baseline="0" noProof="0">
                <a:ln>
                  <a:noFill/>
                </a:ln>
                <a:solidFill>
                  <a:srgbClr val="0D6CB9"/>
                </a:solidFill>
                <a:effectLst/>
                <a:uLnTx/>
                <a:uFillTx/>
                <a:latin typeface="Calibri" panose="020F0502020204030204"/>
                <a:ea typeface="Open Sans" charset="0"/>
                <a:cs typeface="Calibri"/>
              </a:rPr>
              <a:t> Question</a:t>
            </a:r>
            <a:endParaRPr kumimoji="0" lang="en-US" sz="2400" b="1" i="0" u="none" strike="noStrike" kern="1200" cap="none" spc="0" normalizeH="0" baseline="0" noProof="0" dirty="0">
              <a:ln>
                <a:noFill/>
              </a:ln>
              <a:solidFill>
                <a:srgbClr val="0D6CB9"/>
              </a:solidFill>
              <a:effectLst/>
              <a:uLnTx/>
              <a:uFillTx/>
              <a:latin typeface="Calibri" panose="020F0502020204030204"/>
              <a:ea typeface="Open Sans" charset="0"/>
              <a:cs typeface="Calibri"/>
            </a:endParaRPr>
          </a:p>
        </p:txBody>
      </p:sp>
      <p:pic>
        <p:nvPicPr>
          <p:cNvPr id="12" name="Picture 11" descr="screenshot of an rla question and selection with labels indicating the question is the information on the right panel, the selection is the text on the left, and the test directions are the bold sentences at the top of the left panel">
            <a:extLst>
              <a:ext uri="{FF2B5EF4-FFF2-40B4-BE49-F238E27FC236}">
                <a16:creationId xmlns:a16="http://schemas.microsoft.com/office/drawing/2014/main" id="{DE63E11B-FD54-A7AD-1873-5315FF6316BD}"/>
              </a:ext>
            </a:extLst>
          </p:cNvPr>
          <p:cNvPicPr>
            <a:picLocks noChangeAspect="1"/>
          </p:cNvPicPr>
          <p:nvPr/>
        </p:nvPicPr>
        <p:blipFill rotWithShape="1">
          <a:blip r:embed="rId3"/>
          <a:srcRect t="23509" r="1953" b="14912"/>
          <a:stretch/>
        </p:blipFill>
        <p:spPr>
          <a:xfrm>
            <a:off x="894525" y="2267190"/>
            <a:ext cx="10056348" cy="3659111"/>
          </a:xfrm>
          <a:prstGeom prst="rect">
            <a:avLst/>
          </a:prstGeom>
          <a:ln w="28575">
            <a:solidFill>
              <a:schemeClr val="tx1"/>
            </a:solidFill>
          </a:ln>
        </p:spPr>
      </p:pic>
      <p:sp>
        <p:nvSpPr>
          <p:cNvPr id="15" name="Oval 14">
            <a:extLst>
              <a:ext uri="{FF2B5EF4-FFF2-40B4-BE49-F238E27FC236}">
                <a16:creationId xmlns:a16="http://schemas.microsoft.com/office/drawing/2014/main" id="{DCD9883C-0B25-FA72-E174-74F0FB307EE1}"/>
              </a:ext>
              <a:ext uri="{C183D7F6-B498-43B3-948B-1728B52AA6E4}">
                <adec:decorative xmlns:adec="http://schemas.microsoft.com/office/drawing/2017/decorative" val="1"/>
              </a:ext>
            </a:extLst>
          </p:cNvPr>
          <p:cNvSpPr/>
          <p:nvPr/>
        </p:nvSpPr>
        <p:spPr>
          <a:xfrm>
            <a:off x="971573" y="2991235"/>
            <a:ext cx="652740" cy="618239"/>
          </a:xfrm>
          <a:prstGeom prst="ellipse">
            <a:avLst/>
          </a:prstGeom>
          <a:solidFill>
            <a:srgbClr val="FFFF00">
              <a:alpha val="2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3B8F0E37-E649-E275-A06D-F634866546EF}"/>
              </a:ext>
              <a:ext uri="{C183D7F6-B498-43B3-948B-1728B52AA6E4}">
                <adec:decorative xmlns:adec="http://schemas.microsoft.com/office/drawing/2017/decorative" val="1"/>
              </a:ext>
            </a:extLst>
          </p:cNvPr>
          <p:cNvSpPr/>
          <p:nvPr/>
        </p:nvSpPr>
        <p:spPr>
          <a:xfrm>
            <a:off x="9089955" y="4411578"/>
            <a:ext cx="2108284" cy="497306"/>
          </a:xfrm>
          <a:prstGeom prst="rect">
            <a:avLst/>
          </a:prstGeom>
          <a:solidFill>
            <a:srgbClr val="FFFF00">
              <a:alpha val="23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 name="Straight Connector 18">
            <a:extLst>
              <a:ext uri="{FF2B5EF4-FFF2-40B4-BE49-F238E27FC236}">
                <a16:creationId xmlns:a16="http://schemas.microsoft.com/office/drawing/2014/main" id="{D5B7B9D5-4BD4-B358-541B-79A3E9F35E1C}"/>
              </a:ext>
              <a:ext uri="{C183D7F6-B498-43B3-948B-1728B52AA6E4}">
                <adec:decorative xmlns:adec="http://schemas.microsoft.com/office/drawing/2017/decorative" val="1"/>
              </a:ext>
            </a:extLst>
          </p:cNvPr>
          <p:cNvCxnSpPr/>
          <p:nvPr/>
        </p:nvCxnSpPr>
        <p:spPr>
          <a:xfrm>
            <a:off x="5017168" y="2165684"/>
            <a:ext cx="0" cy="3898232"/>
          </a:xfrm>
          <a:prstGeom prst="line">
            <a:avLst/>
          </a:prstGeom>
          <a:ln w="76200">
            <a:prstDash val="dash"/>
          </a:ln>
        </p:spPr>
        <p:style>
          <a:lnRef idx="1">
            <a:schemeClr val="accent2"/>
          </a:lnRef>
          <a:fillRef idx="0">
            <a:schemeClr val="accent2"/>
          </a:fillRef>
          <a:effectRef idx="0">
            <a:schemeClr val="accent2"/>
          </a:effectRef>
          <a:fontRef idx="minor">
            <a:schemeClr val="tx1"/>
          </a:fontRef>
        </p:style>
      </p:cxnSp>
      <p:sp>
        <p:nvSpPr>
          <p:cNvPr id="20" name="Rectangle 19">
            <a:extLst>
              <a:ext uri="{FF2B5EF4-FFF2-40B4-BE49-F238E27FC236}">
                <a16:creationId xmlns:a16="http://schemas.microsoft.com/office/drawing/2014/main" id="{12291AD0-CD8F-DFE4-A64C-9E3A979D1583}"/>
              </a:ext>
              <a:ext uri="{C183D7F6-B498-43B3-948B-1728B52AA6E4}">
                <adec:decorative xmlns:adec="http://schemas.microsoft.com/office/drawing/2017/decorative" val="1"/>
              </a:ext>
            </a:extLst>
          </p:cNvPr>
          <p:cNvSpPr/>
          <p:nvPr/>
        </p:nvSpPr>
        <p:spPr>
          <a:xfrm>
            <a:off x="872341" y="2991235"/>
            <a:ext cx="4144826" cy="2935066"/>
          </a:xfrm>
          <a:prstGeom prst="rect">
            <a:avLst/>
          </a:prstGeom>
          <a:solidFill>
            <a:schemeClr val="accent2">
              <a:lumMod val="40000"/>
              <a:lumOff val="60000"/>
              <a:alpha val="3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910B77AD-5C22-99AE-2906-F4BFCBE5D673}"/>
              </a:ext>
              <a:ext uri="{C183D7F6-B498-43B3-948B-1728B52AA6E4}">
                <adec:decorative xmlns:adec="http://schemas.microsoft.com/office/drawing/2017/decorative" val="1"/>
              </a:ext>
            </a:extLst>
          </p:cNvPr>
          <p:cNvSpPr/>
          <p:nvPr/>
        </p:nvSpPr>
        <p:spPr>
          <a:xfrm>
            <a:off x="5125453" y="2303298"/>
            <a:ext cx="5847604" cy="3648302"/>
          </a:xfrm>
          <a:prstGeom prst="rect">
            <a:avLst/>
          </a:prstGeom>
          <a:solidFill>
            <a:srgbClr val="00B050">
              <a:alpha val="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Graphic 21">
            <a:extLst>
              <a:ext uri="{FF2B5EF4-FFF2-40B4-BE49-F238E27FC236}">
                <a16:creationId xmlns:a16="http://schemas.microsoft.com/office/drawing/2014/main" id="{B1359DC7-5912-51E8-FC8C-7C046B42B55A}"/>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3272" y="3531797"/>
            <a:ext cx="761252" cy="761252"/>
          </a:xfrm>
          <a:prstGeom prst="rect">
            <a:avLst/>
          </a:prstGeom>
        </p:spPr>
      </p:pic>
      <p:pic>
        <p:nvPicPr>
          <p:cNvPr id="23" name="Graphic 22">
            <a:extLst>
              <a:ext uri="{FF2B5EF4-FFF2-40B4-BE49-F238E27FC236}">
                <a16:creationId xmlns:a16="http://schemas.microsoft.com/office/drawing/2014/main" id="{D4CD3CFA-941F-8CCF-3E85-E7B4781590FA}"/>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336710" y="3590448"/>
            <a:ext cx="643949" cy="643949"/>
          </a:xfrm>
          <a:prstGeom prst="rect">
            <a:avLst/>
          </a:prstGeom>
        </p:spPr>
      </p:pic>
    </p:spTree>
    <p:extLst>
      <p:ext uri="{BB962C8B-B14F-4D97-AF65-F5344CB8AC3E}">
        <p14:creationId xmlns:p14="http://schemas.microsoft.com/office/powerpoint/2010/main" val="10173328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oral administration information from dccr">
            <a:extLst>
              <a:ext uri="{FF2B5EF4-FFF2-40B4-BE49-F238E27FC236}">
                <a16:creationId xmlns:a16="http://schemas.microsoft.com/office/drawing/2014/main" id="{BFA91BEA-1134-43A4-B543-CA11E86186CC}"/>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636375187"/>
              </p:ext>
            </p:extLst>
          </p:nvPr>
        </p:nvGraphicFramePr>
        <p:xfrm>
          <a:off x="256309" y="845129"/>
          <a:ext cx="11679382" cy="15586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Flowchart: Alternate Process 4">
            <a:extLst>
              <a:ext uri="{FF2B5EF4-FFF2-40B4-BE49-F238E27FC236}">
                <a16:creationId xmlns:a16="http://schemas.microsoft.com/office/drawing/2014/main" id="{F25CED58-C882-49EC-9DD9-51EC89745339}"/>
              </a:ext>
              <a:ext uri="{C183D7F6-B498-43B3-948B-1728B52AA6E4}">
                <adec:decorative xmlns:adec="http://schemas.microsoft.com/office/drawing/2017/decorative" val="1"/>
              </a:ext>
            </a:extLst>
          </p:cNvPr>
          <p:cNvSpPr/>
          <p:nvPr/>
        </p:nvSpPr>
        <p:spPr>
          <a:xfrm>
            <a:off x="256309" y="1415144"/>
            <a:ext cx="11679382" cy="471722"/>
          </a:xfrm>
          <a:prstGeom prst="flowChartAlternateProcess">
            <a:avLst/>
          </a:prstGeom>
          <a:solidFill>
            <a:srgbClr val="F16038">
              <a:alpha val="34000"/>
            </a:srgbClr>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D6CB9"/>
                </a:solidFill>
                <a:effectLst/>
                <a:uLnTx/>
                <a:uFillTx/>
                <a:latin typeface="Calibri" panose="020F0502020204030204"/>
                <a:ea typeface="Open Sans" charset="0"/>
                <a:cs typeface="Open Sans" charset="0"/>
              </a:rPr>
              <a:t>Oral/Signed Administration</a:t>
            </a:r>
            <a:r>
              <a:rPr kumimoji="0" lang="en-US" sz="2400" b="1" i="0" u="none" strike="noStrike" kern="1200" cap="none" spc="0" normalizeH="0" baseline="0" noProof="0">
                <a:ln>
                  <a:noFill/>
                </a:ln>
                <a:solidFill>
                  <a:srgbClr val="0D6CB9"/>
                </a:solidFill>
                <a:effectLst/>
                <a:uLnTx/>
                <a:uFillTx/>
                <a:latin typeface="Calibri" panose="020F0502020204030204"/>
                <a:ea typeface="Open Sans" charset="0"/>
                <a:cs typeface="Calibri"/>
              </a:rPr>
              <a:t> For Students who are Deaf or Hard of Hearing</a:t>
            </a:r>
          </a:p>
        </p:txBody>
      </p:sp>
      <p:sp>
        <p:nvSpPr>
          <p:cNvPr id="8" name="Flowchart: Alternate Process 7">
            <a:extLst>
              <a:ext uri="{FF2B5EF4-FFF2-40B4-BE49-F238E27FC236}">
                <a16:creationId xmlns:a16="http://schemas.microsoft.com/office/drawing/2014/main" id="{3B316970-51ED-4F2B-897E-1CA72B14164F}"/>
              </a:ext>
              <a:ext uri="{C183D7F6-B498-43B3-948B-1728B52AA6E4}">
                <adec:decorative xmlns:adec="http://schemas.microsoft.com/office/drawing/2017/decorative" val="1"/>
              </a:ext>
            </a:extLst>
          </p:cNvPr>
          <p:cNvSpPr/>
          <p:nvPr/>
        </p:nvSpPr>
        <p:spPr>
          <a:xfrm>
            <a:off x="274493" y="2011610"/>
            <a:ext cx="11679382" cy="3981684"/>
          </a:xfrm>
          <a:prstGeom prst="flowChartAlternateProcess">
            <a:avLst/>
          </a:prstGeom>
          <a:solidFill>
            <a:schemeClr val="bg1"/>
          </a:solidFill>
          <a:ln>
            <a:solidFill>
              <a:srgbClr val="F16038">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  For students who are deaf or hard-of-hearing who are eligible for Content and Language Supports, AND Oral/Signed      Administration:</a:t>
            </a: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Signing of allowable test content is allowed.</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ASL videos are available as an embedded support; however, these are not available for Content and Language Supports. A test administrator will need to provide this support for the student.</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If a student needs signing or oral interpretation support, an interpreter or teacher of the deaf in the room may provide assistance.</a:t>
            </a: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Required training: Oral/Signed Administration Guidelines and the specific guidelines for signing test content are included in the General Instructions for Administering State Assessments to Students Who are Deaf or Hard of Hearing.</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1700" b="0" i="0" u="none" strike="noStrike" kern="1200" cap="none" spc="0" normalizeH="0" baseline="0" noProof="0" dirty="0">
              <a:ln>
                <a:noFill/>
              </a:ln>
              <a:solidFill>
                <a:srgbClr val="091E42"/>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DEACC73E-96E3-410E-BB88-2E1B8A7ADF55}"/>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211177"/>
            <a:ext cx="1670449" cy="646232"/>
          </a:xfrm>
          <a:prstGeom prst="rect">
            <a:avLst/>
          </a:prstGeom>
        </p:spPr>
      </p:pic>
      <p:sp>
        <p:nvSpPr>
          <p:cNvPr id="14" name="Slide Number Placeholder 13">
            <a:extLst>
              <a:ext uri="{FF2B5EF4-FFF2-40B4-BE49-F238E27FC236}">
                <a16:creationId xmlns:a16="http://schemas.microsoft.com/office/drawing/2014/main" id="{9CAAA5D5-3A8B-410C-9703-EC7AF2207C09}"/>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718343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FAEBBF3-DDD4-AC8B-5F08-4775A57C9D11}"/>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8CD65932-10D2-412B-7322-8AA96644B9CB}"/>
              </a:ext>
              <a:ext uri="{C183D7F6-B498-43B3-948B-1728B52AA6E4}">
                <adec:decorative xmlns:adec="http://schemas.microsoft.com/office/drawing/2017/decorative" val="1"/>
              </a:ext>
            </a:extLst>
          </p:cNvPr>
          <p:cNvGrpSpPr/>
          <p:nvPr/>
        </p:nvGrpSpPr>
        <p:grpSpPr>
          <a:xfrm>
            <a:off x="309900" y="904117"/>
            <a:ext cx="11670759" cy="917717"/>
            <a:chOff x="8622" y="-3241"/>
            <a:chExt cx="11670759" cy="917717"/>
          </a:xfrm>
        </p:grpSpPr>
        <p:sp>
          <p:nvSpPr>
            <p:cNvPr id="5" name="Rectangle: Rounded Corners 4">
              <a:extLst>
                <a:ext uri="{FF2B5EF4-FFF2-40B4-BE49-F238E27FC236}">
                  <a16:creationId xmlns:a16="http://schemas.microsoft.com/office/drawing/2014/main" id="{34BA5793-3211-3E14-F13E-A52479C1DB75}"/>
                </a:ext>
              </a:extLst>
            </p:cNvPr>
            <p:cNvSpPr/>
            <p:nvPr/>
          </p:nvSpPr>
          <p:spPr>
            <a:xfrm>
              <a:off x="8622" y="0"/>
              <a:ext cx="11670759" cy="914476"/>
            </a:xfrm>
            <a:prstGeom prst="roundRect">
              <a:avLst>
                <a:gd name="adj" fmla="val 10000"/>
              </a:avLst>
            </a:prstGeom>
            <a:solidFill>
              <a:srgbClr val="F1603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Rectangle: Rounded Corners 4">
              <a:extLst>
                <a:ext uri="{FF2B5EF4-FFF2-40B4-BE49-F238E27FC236}">
                  <a16:creationId xmlns:a16="http://schemas.microsoft.com/office/drawing/2014/main" id="{80EE2842-0ED4-1330-39AB-896505EBB7D3}"/>
                </a:ext>
              </a:extLst>
            </p:cNvPr>
            <p:cNvSpPr txBox="1"/>
            <p:nvPr/>
          </p:nvSpPr>
          <p:spPr>
            <a:xfrm>
              <a:off x="62190" y="-3241"/>
              <a:ext cx="11617191" cy="8609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t"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panose="020F0502020204030204"/>
                  <a:ea typeface="+mn-ea"/>
                  <a:cs typeface="+mn-cs"/>
                </a:rPr>
                <a:t>Oral/Signed Administration </a:t>
              </a: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continued):</a:t>
              </a:r>
              <a:endParaRPr kumimoji="0" lang="en-US" sz="20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Title 1">
            <a:extLst>
              <a:ext uri="{FF2B5EF4-FFF2-40B4-BE49-F238E27FC236}">
                <a16:creationId xmlns:a16="http://schemas.microsoft.com/office/drawing/2014/main" id="{CF50108D-8E16-F022-152D-0AF5FF480B00}"/>
              </a:ext>
            </a:extLst>
          </p:cNvPr>
          <p:cNvSpPr>
            <a:spLocks noGrp="1"/>
          </p:cNvSpPr>
          <p:nvPr>
            <p:ph type="title"/>
          </p:nvPr>
        </p:nvSpPr>
        <p:spPr>
          <a:xfrm>
            <a:off x="309900" y="100902"/>
            <a:ext cx="11122025" cy="750887"/>
          </a:xfrm>
        </p:spPr>
        <p:txBody>
          <a:bodyPr>
            <a:normAutofit/>
          </a:bodyPr>
          <a:lstStyle/>
          <a:p>
            <a:r>
              <a:rPr lang="en-US" dirty="0"/>
              <a:t>Designated Supports (Locally Approved)</a:t>
            </a:r>
          </a:p>
        </p:txBody>
      </p:sp>
      <p:pic>
        <p:nvPicPr>
          <p:cNvPr id="8" name="Picture 7">
            <a:extLst>
              <a:ext uri="{FF2B5EF4-FFF2-40B4-BE49-F238E27FC236}">
                <a16:creationId xmlns:a16="http://schemas.microsoft.com/office/drawing/2014/main" id="{88E2B8D5-D574-8715-A09A-8794FA5316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239826" y="153230"/>
            <a:ext cx="1670449" cy="646232"/>
          </a:xfrm>
          <a:prstGeom prst="rect">
            <a:avLst/>
          </a:prstGeom>
        </p:spPr>
      </p:pic>
      <p:sp>
        <p:nvSpPr>
          <p:cNvPr id="10" name="TextBox 9">
            <a:extLst>
              <a:ext uri="{FF2B5EF4-FFF2-40B4-BE49-F238E27FC236}">
                <a16:creationId xmlns:a16="http://schemas.microsoft.com/office/drawing/2014/main" id="{68B5D418-4E8E-C4CC-9B86-FAC2419394A0}"/>
              </a:ext>
            </a:extLst>
          </p:cNvPr>
          <p:cNvSpPr txBox="1"/>
          <p:nvPr/>
        </p:nvSpPr>
        <p:spPr>
          <a:xfrm>
            <a:off x="363466" y="2459091"/>
            <a:ext cx="11546807" cy="1328023"/>
          </a:xfrm>
          <a:prstGeom prst="roundRect">
            <a:avLst/>
          </a:prstGeom>
          <a:noFill/>
          <a:ln w="12700">
            <a:solidFill>
              <a:schemeClr val="accent2"/>
            </a:solidFill>
          </a:ln>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b="0" i="0" u="none" strike="noStrike" kern="1200" cap="none" spc="0" normalizeH="0" baseline="0" noProof="0" dirty="0">
                <a:ln>
                  <a:noFill/>
                </a:ln>
                <a:solidFill>
                  <a:srgbClr val="005786"/>
                </a:solidFill>
                <a:effectLst/>
                <a:uLnTx/>
                <a:uFillTx/>
                <a:latin typeface="Calibri" panose="020F0502020204030204"/>
                <a:ea typeface="+mn-ea"/>
                <a:cs typeface="+mn-cs"/>
              </a:rPr>
              <a:t>Signed administrations can be provided via a test administrator viewing a secondary mirrored monit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5786"/>
                </a:solidFill>
                <a:effectLst/>
                <a:uLnTx/>
                <a:uFillTx/>
                <a:latin typeface="Calibri" panose="020F0502020204030204"/>
                <a:ea typeface="+mn-ea"/>
                <a:cs typeface="+mn-cs"/>
              </a:rPr>
              <a:t>	-The proctor will see the student’s exact screen and can provide signed support or oral interpret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5786"/>
                </a:solidFill>
                <a:effectLst/>
                <a:uLnTx/>
                <a:uFillTx/>
                <a:latin typeface="Calibri" panose="020F0502020204030204"/>
                <a:ea typeface="+mn-ea"/>
                <a:cs typeface="+mn-cs"/>
              </a:rPr>
              <a:t>	-Screen mirroring requires connection via an HDMI cab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5786"/>
                </a:solidFill>
                <a:effectLst/>
                <a:uLnTx/>
                <a:uFillTx/>
                <a:latin typeface="Calibri" panose="020F0502020204030204"/>
                <a:ea typeface="+mn-ea"/>
                <a:cs typeface="+mn-cs"/>
              </a:rPr>
              <a:t>	-Appropriate for individual administration</a:t>
            </a:r>
          </a:p>
        </p:txBody>
      </p:sp>
      <p:sp>
        <p:nvSpPr>
          <p:cNvPr id="11" name="Flowchart: Alternate Process 10">
            <a:extLst>
              <a:ext uri="{FF2B5EF4-FFF2-40B4-BE49-F238E27FC236}">
                <a16:creationId xmlns:a16="http://schemas.microsoft.com/office/drawing/2014/main" id="{9ECDBBB3-2203-3831-A9FF-9D0A843D78D3}"/>
              </a:ext>
              <a:ext uri="{C183D7F6-B498-43B3-948B-1728B52AA6E4}">
                <adec:decorative xmlns:adec="http://schemas.microsoft.com/office/drawing/2017/decorative" val="1"/>
              </a:ext>
            </a:extLst>
          </p:cNvPr>
          <p:cNvSpPr/>
          <p:nvPr/>
        </p:nvSpPr>
        <p:spPr>
          <a:xfrm>
            <a:off x="309900" y="1907407"/>
            <a:ext cx="11679382" cy="471722"/>
          </a:xfrm>
          <a:prstGeom prst="flowChartAlternateProcess">
            <a:avLst/>
          </a:prstGeom>
          <a:solidFill>
            <a:srgbClr val="F16038">
              <a:alpha val="34000"/>
            </a:srgbClr>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D6CB9"/>
                </a:solidFill>
                <a:effectLst/>
                <a:uLnTx/>
                <a:uFillTx/>
                <a:latin typeface="Calibri" panose="020F0502020204030204"/>
                <a:ea typeface="Open Sans" charset="0"/>
                <a:cs typeface="Open Sans" charset="0"/>
              </a:rPr>
              <a:t>Oral/Signed Administration</a:t>
            </a:r>
            <a:r>
              <a:rPr kumimoji="0" lang="en-US" sz="2400" b="1" i="0" u="none" strike="noStrike" kern="1200" cap="none" spc="0" normalizeH="0" baseline="0" noProof="0">
                <a:ln>
                  <a:noFill/>
                </a:ln>
                <a:solidFill>
                  <a:srgbClr val="0D6CB9"/>
                </a:solidFill>
                <a:effectLst/>
                <a:uLnTx/>
                <a:uFillTx/>
                <a:latin typeface="Calibri" panose="020F0502020204030204"/>
                <a:ea typeface="Open Sans" charset="0"/>
                <a:cs typeface="Calibri"/>
              </a:rPr>
              <a:t> For Students who are Deaf or Hard of Hearing</a:t>
            </a:r>
          </a:p>
        </p:txBody>
      </p:sp>
      <p:sp>
        <p:nvSpPr>
          <p:cNvPr id="9" name="TextBox 8">
            <a:extLst>
              <a:ext uri="{FF2B5EF4-FFF2-40B4-BE49-F238E27FC236}">
                <a16:creationId xmlns:a16="http://schemas.microsoft.com/office/drawing/2014/main" id="{C820D5C2-E8EF-E193-C846-4E079372325F}"/>
              </a:ext>
            </a:extLst>
          </p:cNvPr>
          <p:cNvSpPr txBox="1"/>
          <p:nvPr/>
        </p:nvSpPr>
        <p:spPr>
          <a:xfrm>
            <a:off x="371875" y="3833446"/>
            <a:ext cx="11546807" cy="1055608"/>
          </a:xfrm>
          <a:prstGeom prst="roundRect">
            <a:avLst/>
          </a:prstGeom>
          <a:noFill/>
          <a:ln w="12700">
            <a:solidFill>
              <a:schemeClr val="accent2"/>
            </a:solidFill>
          </a:ln>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lang="en-US" dirty="0">
                <a:solidFill>
                  <a:srgbClr val="005786"/>
                </a:solidFill>
                <a:latin typeface="Calibri" panose="020F0502020204030204"/>
              </a:rPr>
              <a:t>. Districts may request a proctor code from Cambium in order to access a proctor version of the test online if the access to an online test is needed for group administrations.  </a:t>
            </a:r>
            <a:endParaRPr kumimoji="0" lang="en-US" b="0" i="0" u="none" strike="noStrike" kern="1200" cap="none" spc="0" normalizeH="0" baseline="0" noProof="0" dirty="0">
              <a:ln>
                <a:noFill/>
              </a:ln>
              <a:solidFill>
                <a:srgbClr val="005786"/>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EFFC6616-BE9C-E74D-68F6-2C80C1F5784A}"/>
              </a:ext>
            </a:extLst>
          </p:cNvPr>
          <p:cNvSpPr txBox="1"/>
          <p:nvPr/>
        </p:nvSpPr>
        <p:spPr>
          <a:xfrm>
            <a:off x="363465" y="4929086"/>
            <a:ext cx="11546807" cy="1021556"/>
          </a:xfrm>
          <a:prstGeom prst="roundRect">
            <a:avLst/>
          </a:prstGeom>
          <a:noFill/>
          <a:ln w="12700">
            <a:solidFill>
              <a:schemeClr val="accent2"/>
            </a:solidFill>
          </a:ln>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lang="en-US" dirty="0">
                <a:solidFill>
                  <a:srgbClr val="005786"/>
                </a:solidFill>
                <a:latin typeface="Calibri" panose="020F0502020204030204"/>
              </a:rPr>
              <a:t>Interpreters or teachers of the deaf who provide signed or oral assistance to students may preview test material eligible for an oral/signed administration the day of the assessment to prepare an accurate interpretation. Districts may request a proctor code from Cambium in order to access a proctor version of the test online. </a:t>
            </a:r>
            <a:endParaRPr kumimoji="0" lang="en-US" b="0" i="0" u="none" strike="noStrike" kern="1200" cap="none" spc="0" normalizeH="0" baseline="0" noProof="0" dirty="0">
              <a:ln>
                <a:noFill/>
              </a:ln>
              <a:solidFill>
                <a:srgbClr val="00578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4828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B26E7-F544-4A5C-891B-2AA8C3FFE03B}"/>
              </a:ext>
            </a:extLst>
          </p:cNvPr>
          <p:cNvSpPr>
            <a:spLocks noGrp="1"/>
          </p:cNvSpPr>
          <p:nvPr>
            <p:ph type="title"/>
          </p:nvPr>
        </p:nvSpPr>
        <p:spPr/>
        <p:txBody>
          <a:bodyPr/>
          <a:lstStyle/>
          <a:p>
            <a:r>
              <a:rPr lang="en-US" dirty="0"/>
              <a:t>2023–2024 Accommodation </a:t>
            </a:r>
            <a:r>
              <a:rPr lang="en-US" dirty="0">
                <a:solidFill>
                  <a:srgbClr val="F16038"/>
                </a:solidFill>
              </a:rPr>
              <a:t>Update</a:t>
            </a:r>
          </a:p>
        </p:txBody>
      </p:sp>
      <p:sp>
        <p:nvSpPr>
          <p:cNvPr id="9" name="Slide Number Placeholder 8">
            <a:extLst>
              <a:ext uri="{FF2B5EF4-FFF2-40B4-BE49-F238E27FC236}">
                <a16:creationId xmlns:a16="http://schemas.microsoft.com/office/drawing/2014/main" id="{6274E088-CC4E-4395-BFE9-B584D4B36FFD}"/>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1" name="Explosion: 8 Points 5" descr="New icon">
            <a:extLst>
              <a:ext uri="{FF2B5EF4-FFF2-40B4-BE49-F238E27FC236}">
                <a16:creationId xmlns:a16="http://schemas.microsoft.com/office/drawing/2014/main" id="{70B190AD-504E-7647-92B9-E3EB479A09B5}"/>
              </a:ext>
            </a:extLst>
          </p:cNvPr>
          <p:cNvSpPr/>
          <p:nvPr/>
        </p:nvSpPr>
        <p:spPr>
          <a:xfrm>
            <a:off x="10082498" y="59663"/>
            <a:ext cx="1871377" cy="1207581"/>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Calibri" panose="020F0502020204030204"/>
                <a:ea typeface="+mn-ea"/>
                <a:cs typeface="+mn-cs"/>
              </a:rPr>
              <a:t>NEW</a:t>
            </a:r>
          </a:p>
        </p:txBody>
      </p:sp>
      <p:sp>
        <p:nvSpPr>
          <p:cNvPr id="4" name="TextBox 3">
            <a:extLst>
              <a:ext uri="{FF2B5EF4-FFF2-40B4-BE49-F238E27FC236}">
                <a16:creationId xmlns:a16="http://schemas.microsoft.com/office/drawing/2014/main" id="{C9C29C1D-8EA5-F00E-3CB2-DB5DAA56E77A}"/>
              </a:ext>
            </a:extLst>
          </p:cNvPr>
          <p:cNvSpPr txBox="1"/>
          <p:nvPr/>
        </p:nvSpPr>
        <p:spPr>
          <a:xfrm>
            <a:off x="1397285" y="2254520"/>
            <a:ext cx="10150868" cy="1877437"/>
          </a:xfrm>
          <a:prstGeom prst="rect">
            <a:avLst/>
          </a:prstGeom>
          <a:solidFill>
            <a:schemeClr val="accent1">
              <a:lumMod val="40000"/>
              <a:lumOff val="60000"/>
            </a:schemeClr>
          </a:solidFill>
          <a:ln w="381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a:ln>
                  <a:noFill/>
                </a:ln>
                <a:solidFill>
                  <a:prstClr val="black"/>
                </a:solidFill>
                <a:effectLst/>
                <a:uLnTx/>
                <a:uFillTx/>
                <a:latin typeface="Calibri" panose="020F0502020204030204"/>
                <a:ea typeface="+mn-ea"/>
                <a:cs typeface="+mn-cs"/>
              </a:rPr>
              <a:t>DCCR Accessibility Table Updat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Layout for Readabilit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Additional Non-Exampl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Language specifying trained administrators required</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 name="Graphic 7">
            <a:extLst>
              <a:ext uri="{FF2B5EF4-FFF2-40B4-BE49-F238E27FC236}">
                <a16:creationId xmlns:a16="http://schemas.microsoft.com/office/drawing/2014/main" id="{5B5CC028-9EEF-FF5E-A75E-8DD54328184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20444" y="2374077"/>
            <a:ext cx="1524107" cy="1524107"/>
          </a:xfrm>
          <a:prstGeom prst="rect">
            <a:avLst/>
          </a:prstGeom>
        </p:spPr>
      </p:pic>
    </p:spTree>
    <p:extLst>
      <p:ext uri="{BB962C8B-B14F-4D97-AF65-F5344CB8AC3E}">
        <p14:creationId xmlns:p14="http://schemas.microsoft.com/office/powerpoint/2010/main" val="3917639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BFA91BEA-1134-43A4-B543-CA11E86186C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316327007"/>
              </p:ext>
            </p:extLst>
          </p:nvPr>
        </p:nvGraphicFramePr>
        <p:xfrm>
          <a:off x="256309" y="799462"/>
          <a:ext cx="11679382" cy="15586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Flowchart: Alternate Process 4">
            <a:extLst>
              <a:ext uri="{FF2B5EF4-FFF2-40B4-BE49-F238E27FC236}">
                <a16:creationId xmlns:a16="http://schemas.microsoft.com/office/drawing/2014/main" id="{F25CED58-C882-49EC-9DD9-51EC89745339}"/>
              </a:ext>
            </a:extLst>
          </p:cNvPr>
          <p:cNvSpPr/>
          <p:nvPr/>
        </p:nvSpPr>
        <p:spPr>
          <a:xfrm>
            <a:off x="256309" y="1415144"/>
            <a:ext cx="11679382" cy="471722"/>
          </a:xfrm>
          <a:prstGeom prst="flowChartAlternateProcess">
            <a:avLst/>
          </a:prstGeom>
          <a:solidFill>
            <a:srgbClr val="F16038">
              <a:alpha val="34000"/>
            </a:srgbClr>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D6CB9"/>
                </a:solidFill>
                <a:effectLst/>
                <a:uLnTx/>
                <a:uFillTx/>
                <a:latin typeface="Calibri" panose="020F0502020204030204"/>
                <a:ea typeface="Open Sans" charset="0"/>
                <a:cs typeface="Calibri"/>
              </a:rPr>
              <a:t>American Sign Language (ASL) Videos</a:t>
            </a:r>
          </a:p>
        </p:txBody>
      </p:sp>
      <p:sp>
        <p:nvSpPr>
          <p:cNvPr id="8" name="Flowchart: Alternate Process 7">
            <a:extLst>
              <a:ext uri="{FF2B5EF4-FFF2-40B4-BE49-F238E27FC236}">
                <a16:creationId xmlns:a16="http://schemas.microsoft.com/office/drawing/2014/main" id="{3B316970-51ED-4F2B-897E-1CA72B14164F}"/>
              </a:ext>
            </a:extLst>
          </p:cNvPr>
          <p:cNvSpPr/>
          <p:nvPr/>
        </p:nvSpPr>
        <p:spPr>
          <a:xfrm>
            <a:off x="367146" y="1946564"/>
            <a:ext cx="5534891" cy="4046730"/>
          </a:xfrm>
          <a:prstGeom prst="flowChartAlternateProcess">
            <a:avLst/>
          </a:prstGeom>
          <a:solidFill>
            <a:schemeClr val="bg1"/>
          </a:solidFill>
          <a:ln>
            <a:solidFill>
              <a:srgbClr val="F16038">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Available on STAAR online for students eligible for Oral/Signed Administration</a:t>
            </a: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Questions and answer choices signed in ASL for all subjects (not available for Content and Language Supports)</a:t>
            </a: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Closed-Captioning</a:t>
            </a: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000" b="0" i="0" u="none" strike="noStrike" kern="1200" cap="none" spc="0" normalizeH="0" baseline="0" noProof="0">
              <a:ln>
                <a:noFill/>
              </a:ln>
              <a:solidFill>
                <a:srgbClr val="091E42"/>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1DC16026-F096-454D-BAD0-364E76F58354}"/>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53230"/>
            <a:ext cx="1670449" cy="646232"/>
          </a:xfrm>
          <a:prstGeom prst="rect">
            <a:avLst/>
          </a:prstGeom>
        </p:spPr>
      </p:pic>
      <p:sp>
        <p:nvSpPr>
          <p:cNvPr id="15" name="Slide Number Placeholder 14">
            <a:extLst>
              <a:ext uri="{FF2B5EF4-FFF2-40B4-BE49-F238E27FC236}">
                <a16:creationId xmlns:a16="http://schemas.microsoft.com/office/drawing/2014/main" id="{5723B6E0-D369-4D0D-98D1-831EB4339656}"/>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4" name="Flowchart: Alternate Process 13">
            <a:extLst>
              <a:ext uri="{FF2B5EF4-FFF2-40B4-BE49-F238E27FC236}">
                <a16:creationId xmlns:a16="http://schemas.microsoft.com/office/drawing/2014/main" id="{83EB678A-F6F2-4B76-BF8B-090A8A9CA919}"/>
              </a:ext>
              <a:ext uri="{C183D7F6-B498-43B3-948B-1728B52AA6E4}">
                <adec:decorative xmlns:adec="http://schemas.microsoft.com/office/drawing/2017/decorative" val="1"/>
              </a:ext>
            </a:extLst>
          </p:cNvPr>
          <p:cNvSpPr/>
          <p:nvPr/>
        </p:nvSpPr>
        <p:spPr>
          <a:xfrm>
            <a:off x="6151418" y="1946564"/>
            <a:ext cx="5534891" cy="4046730"/>
          </a:xfrm>
          <a:prstGeom prst="flowChartAlternateProcess">
            <a:avLst/>
          </a:prstGeom>
          <a:solidFill>
            <a:schemeClr val="bg1"/>
          </a:solidFill>
          <a:ln>
            <a:solidFill>
              <a:srgbClr val="F16038">
                <a:alpha val="9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F16038"/>
              </a:buClr>
              <a:buSzTx/>
              <a:buFontTx/>
              <a:buNone/>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There is no indicator on the student’s screen that they are in an “ASL” version of the test. The student will need to be familiar enough with the online accommodation to know there should be embedded videos. </a:t>
            </a: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000" b="0" i="0" u="none" strike="noStrike" kern="1200" cap="none" spc="0" normalizeH="0" baseline="0" noProof="0">
              <a:ln>
                <a:noFill/>
              </a:ln>
              <a:solidFill>
                <a:srgbClr val="091E42"/>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34995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spelling asssitance from the dccr">
            <a:extLst>
              <a:ext uri="{FF2B5EF4-FFF2-40B4-BE49-F238E27FC236}">
                <a16:creationId xmlns:a16="http://schemas.microsoft.com/office/drawing/2014/main" id="{BFA91BEA-1134-43A4-B543-CA11E86186CC}"/>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427109077"/>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9365A154-7988-4419-8B30-4AF6255EFF99}"/>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53230"/>
            <a:ext cx="1670449" cy="646232"/>
          </a:xfrm>
          <a:prstGeom prst="rect">
            <a:avLst/>
          </a:prstGeom>
        </p:spPr>
      </p:pic>
      <p:sp>
        <p:nvSpPr>
          <p:cNvPr id="15" name="Slide Number Placeholder 14">
            <a:extLst>
              <a:ext uri="{FF2B5EF4-FFF2-40B4-BE49-F238E27FC236}">
                <a16:creationId xmlns:a16="http://schemas.microsoft.com/office/drawing/2014/main" id="{585E8BBC-0898-4624-A9B0-883C15AF013B}"/>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30863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slide showing to screenshots of the embedded spelling assistance supports available in TDS">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913755203"/>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3" name="Picture 2">
            <a:extLst>
              <a:ext uri="{FF2B5EF4-FFF2-40B4-BE49-F238E27FC236}">
                <a16:creationId xmlns:a16="http://schemas.microsoft.com/office/drawing/2014/main" id="{EE9E2AA0-32AB-4FBB-8017-921A56A3EDF8}"/>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53230"/>
            <a:ext cx="1670449" cy="646232"/>
          </a:xfrm>
          <a:prstGeom prst="rect">
            <a:avLst/>
          </a:prstGeom>
        </p:spPr>
      </p:pic>
      <p:sp>
        <p:nvSpPr>
          <p:cNvPr id="13" name="Slide Number Placeholder 12">
            <a:extLst>
              <a:ext uri="{FF2B5EF4-FFF2-40B4-BE49-F238E27FC236}">
                <a16:creationId xmlns:a16="http://schemas.microsoft.com/office/drawing/2014/main" id="{85DFA872-A283-412E-9A21-D23D9B055443}"/>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F6B144F3-DE4C-0E81-917B-9E05EA25DA11}"/>
              </a:ext>
              <a:ext uri="{C183D7F6-B498-43B3-948B-1728B52AA6E4}">
                <adec:decorative xmlns:adec="http://schemas.microsoft.com/office/drawing/2017/decorative" val="1"/>
              </a:ext>
            </a:extLst>
          </p:cNvPr>
          <p:cNvPicPr>
            <a:picLocks noChangeAspect="1"/>
          </p:cNvPicPr>
          <p:nvPr/>
        </p:nvPicPr>
        <p:blipFill rotWithShape="1">
          <a:blip r:embed="rId11"/>
          <a:srcRect l="41124" t="52134" r="4775" b="8615"/>
          <a:stretch/>
        </p:blipFill>
        <p:spPr>
          <a:xfrm>
            <a:off x="256309" y="2315029"/>
            <a:ext cx="6596010" cy="2691830"/>
          </a:xfrm>
          <a:prstGeom prst="rect">
            <a:avLst/>
          </a:prstGeom>
          <a:ln w="38100">
            <a:solidFill>
              <a:schemeClr val="tx1"/>
            </a:solidFill>
          </a:ln>
        </p:spPr>
      </p:pic>
      <p:sp>
        <p:nvSpPr>
          <p:cNvPr id="15" name="TextBox 14">
            <a:extLst>
              <a:ext uri="{FF2B5EF4-FFF2-40B4-BE49-F238E27FC236}">
                <a16:creationId xmlns:a16="http://schemas.microsoft.com/office/drawing/2014/main" id="{B9886FC3-3253-4BB6-BADC-9D9C96E9095F}"/>
              </a:ext>
              <a:ext uri="{C183D7F6-B498-43B3-948B-1728B52AA6E4}">
                <adec:decorative xmlns:adec="http://schemas.microsoft.com/office/drawing/2017/decorative" val="0"/>
              </a:ext>
            </a:extLst>
          </p:cNvPr>
          <p:cNvSpPr txBox="1"/>
          <p:nvPr/>
        </p:nvSpPr>
        <p:spPr>
          <a:xfrm>
            <a:off x="7563646" y="2315029"/>
            <a:ext cx="3660717" cy="646331"/>
          </a:xfrm>
          <a:prstGeom prst="rect">
            <a:avLst/>
          </a:prstGeom>
          <a:noFill/>
          <a:ln w="47625">
            <a:solidFill>
              <a:srgbClr val="F16038"/>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D6CB9"/>
                </a:solidFill>
                <a:effectLst/>
                <a:uLnTx/>
                <a:uFillTx/>
                <a:latin typeface="Calibri" panose="020F0502020204030204"/>
                <a:ea typeface="+mn-ea"/>
                <a:cs typeface="+mn-cs"/>
              </a:rPr>
              <a:t>Note: Spell check does not identify grammatical or usage errors.</a:t>
            </a:r>
          </a:p>
        </p:txBody>
      </p:sp>
      <p:pic>
        <p:nvPicPr>
          <p:cNvPr id="16" name="Picture 15">
            <a:extLst>
              <a:ext uri="{FF2B5EF4-FFF2-40B4-BE49-F238E27FC236}">
                <a16:creationId xmlns:a16="http://schemas.microsoft.com/office/drawing/2014/main" id="{FD38E6B3-FDA4-A838-7127-BF112EE9400D}"/>
              </a:ext>
              <a:ext uri="{C183D7F6-B498-43B3-948B-1728B52AA6E4}">
                <adec:decorative xmlns:adec="http://schemas.microsoft.com/office/drawing/2017/decorative" val="1"/>
              </a:ext>
            </a:extLst>
          </p:cNvPr>
          <p:cNvPicPr>
            <a:picLocks noChangeAspect="1"/>
          </p:cNvPicPr>
          <p:nvPr/>
        </p:nvPicPr>
        <p:blipFill rotWithShape="1">
          <a:blip r:embed="rId12"/>
          <a:srcRect l="2708" t="29488" r="3466" b="8762"/>
          <a:stretch/>
        </p:blipFill>
        <p:spPr>
          <a:xfrm>
            <a:off x="4901778" y="3215811"/>
            <a:ext cx="6934536" cy="2592351"/>
          </a:xfrm>
          <a:prstGeom prst="rect">
            <a:avLst/>
          </a:prstGeom>
          <a:ln w="38100">
            <a:solidFill>
              <a:schemeClr val="tx1"/>
            </a:solidFill>
          </a:ln>
        </p:spPr>
      </p:pic>
      <p:cxnSp>
        <p:nvCxnSpPr>
          <p:cNvPr id="7" name="Straight Connector 6">
            <a:extLst>
              <a:ext uri="{FF2B5EF4-FFF2-40B4-BE49-F238E27FC236}">
                <a16:creationId xmlns:a16="http://schemas.microsoft.com/office/drawing/2014/main" id="{B2AFBDF6-6284-FC75-E535-D79B3FD167C0}"/>
              </a:ext>
              <a:ext uri="{C183D7F6-B498-43B3-948B-1728B52AA6E4}">
                <adec:decorative xmlns:adec="http://schemas.microsoft.com/office/drawing/2017/decorative" val="1"/>
              </a:ext>
            </a:extLst>
          </p:cNvPr>
          <p:cNvCxnSpPr/>
          <p:nvPr/>
        </p:nvCxnSpPr>
        <p:spPr>
          <a:xfrm>
            <a:off x="6852319" y="2609850"/>
            <a:ext cx="711327" cy="0"/>
          </a:xfrm>
          <a:prstGeom prst="line">
            <a:avLst/>
          </a:prstGeom>
          <a:ln w="3810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5955355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a:cxnSpLocks/>
          </p:cNvCxnSpPr>
          <p:nvPr/>
        </p:nvCxnSpPr>
        <p:spPr>
          <a:xfrm>
            <a:off x="462337" y="1715784"/>
            <a:ext cx="669777" cy="2638502"/>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about supplemental aids from the dccr">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839544174"/>
              </p:ext>
            </p:extLst>
          </p:nvPr>
        </p:nvGraphicFramePr>
        <p:xfrm>
          <a:off x="256309" y="845127"/>
          <a:ext cx="11679382" cy="50737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Picture 3">
            <a:extLst>
              <a:ext uri="{FF2B5EF4-FFF2-40B4-BE49-F238E27FC236}">
                <a16:creationId xmlns:a16="http://schemas.microsoft.com/office/drawing/2014/main" id="{A2C35483-3D9B-4058-A1FE-5FE0670C58CF}"/>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76063"/>
            <a:ext cx="1670449" cy="646232"/>
          </a:xfrm>
          <a:prstGeom prst="rect">
            <a:avLst/>
          </a:prstGeom>
        </p:spPr>
      </p:pic>
      <p:sp>
        <p:nvSpPr>
          <p:cNvPr id="15" name="Slide Number Placeholder 14">
            <a:extLst>
              <a:ext uri="{FF2B5EF4-FFF2-40B4-BE49-F238E27FC236}">
                <a16:creationId xmlns:a16="http://schemas.microsoft.com/office/drawing/2014/main" id="{3F8E4751-ACEE-452B-AEED-0460DE8B6ACF}"/>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35386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Locally Approved)</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descr="information from the dccr about supplemental aids">
            <a:extLst>
              <a:ext uri="{FF2B5EF4-FFF2-40B4-BE49-F238E27FC236}">
                <a16:creationId xmlns:a16="http://schemas.microsoft.com/office/drawing/2014/main" id="{BFA91BEA-1134-43A4-B543-CA11E86186CC}"/>
              </a:ext>
            </a:extLst>
          </p:cNvPr>
          <p:cNvGraphicFramePr/>
          <p:nvPr>
            <p:extLst>
              <p:ext uri="{D42A27DB-BD31-4B8C-83A1-F6EECF244321}">
                <p14:modId xmlns:p14="http://schemas.microsoft.com/office/powerpoint/2010/main" val="2572172676"/>
              </p:ext>
            </p:extLst>
          </p:nvPr>
        </p:nvGraphicFramePr>
        <p:xfrm>
          <a:off x="256309" y="845127"/>
          <a:ext cx="11679382" cy="258387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Rectangle: Rounded Corners 2">
            <a:extLst>
              <a:ext uri="{FF2B5EF4-FFF2-40B4-BE49-F238E27FC236}">
                <a16:creationId xmlns:a16="http://schemas.microsoft.com/office/drawing/2014/main" id="{8F10366A-F7BE-411B-AD6E-10D624D59BCF}"/>
              </a:ext>
              <a:ext uri="{C183D7F6-B498-43B3-948B-1728B52AA6E4}">
                <adec:decorative xmlns:adec="http://schemas.microsoft.com/office/drawing/2017/decorative" val="1"/>
              </a:ext>
            </a:extLst>
          </p:cNvPr>
          <p:cNvSpPr/>
          <p:nvPr/>
        </p:nvSpPr>
        <p:spPr>
          <a:xfrm>
            <a:off x="180109" y="3443864"/>
            <a:ext cx="2261262" cy="2271486"/>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0D6CB9"/>
                </a:solidFill>
                <a:effectLst/>
                <a:uLnTx/>
                <a:uFillTx/>
                <a:latin typeface="Calibri" panose="020F0502020204030204"/>
                <a:ea typeface="+mn-ea"/>
                <a:cs typeface="+mn-cs"/>
              </a:rPr>
              <a:t>All Subje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a:ln>
                <a:noFill/>
              </a:ln>
              <a:solidFill>
                <a:srgbClr val="0D6CB9"/>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Mnemonic Devices</a:t>
            </a: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Blank Graphic Organizers</a:t>
            </a:r>
          </a:p>
        </p:txBody>
      </p:sp>
      <p:sp>
        <p:nvSpPr>
          <p:cNvPr id="4" name="Rectangle: Rounded Corners 3">
            <a:extLst>
              <a:ext uri="{FF2B5EF4-FFF2-40B4-BE49-F238E27FC236}">
                <a16:creationId xmlns:a16="http://schemas.microsoft.com/office/drawing/2014/main" id="{F2BD98F6-B30D-4110-B394-FFC00E150240}"/>
              </a:ext>
              <a:ext uri="{C183D7F6-B498-43B3-948B-1728B52AA6E4}">
                <adec:decorative xmlns:adec="http://schemas.microsoft.com/office/drawing/2017/decorative" val="1"/>
              </a:ext>
            </a:extLst>
          </p:cNvPr>
          <p:cNvSpPr/>
          <p:nvPr/>
        </p:nvSpPr>
        <p:spPr>
          <a:xfrm>
            <a:off x="2664033" y="3505199"/>
            <a:ext cx="2188521" cy="2355273"/>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D6CB9"/>
                </a:solidFill>
                <a:effectLst/>
                <a:uLnTx/>
                <a:uFillTx/>
                <a:latin typeface="Calibri" panose="020F0502020204030204"/>
                <a:ea typeface="+mn-ea"/>
                <a:cs typeface="+mn-cs"/>
              </a:rPr>
              <a:t>Mathematic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a:ln>
                <a:noFill/>
              </a:ln>
              <a:solidFill>
                <a:srgbClr val="0D6CB9"/>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Math Charts</a:t>
            </a: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Graphics</a:t>
            </a:r>
          </a:p>
        </p:txBody>
      </p:sp>
      <p:sp>
        <p:nvSpPr>
          <p:cNvPr id="5" name="Rectangle: Rounded Corners 4">
            <a:extLst>
              <a:ext uri="{FF2B5EF4-FFF2-40B4-BE49-F238E27FC236}">
                <a16:creationId xmlns:a16="http://schemas.microsoft.com/office/drawing/2014/main" id="{A6499B3C-CAFE-449D-8B2C-6EE2485F487A}"/>
              </a:ext>
              <a:ext uri="{C183D7F6-B498-43B3-948B-1728B52AA6E4}">
                <adec:decorative xmlns:adec="http://schemas.microsoft.com/office/drawing/2017/decorative" val="1"/>
              </a:ext>
            </a:extLst>
          </p:cNvPr>
          <p:cNvSpPr/>
          <p:nvPr/>
        </p:nvSpPr>
        <p:spPr>
          <a:xfrm>
            <a:off x="4994569" y="3505200"/>
            <a:ext cx="2441362" cy="2355273"/>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D6CB9"/>
                </a:solidFill>
                <a:effectLst/>
                <a:uLnTx/>
                <a:uFillTx/>
                <a:latin typeface="Calibri" panose="020F0502020204030204"/>
                <a:ea typeface="+mn-ea"/>
                <a:cs typeface="+mn-cs"/>
              </a:rPr>
              <a:t>Written Composi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D6CB9"/>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Grammar and Mechanics Rules</a:t>
            </a: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endParaRPr>
          </a:p>
        </p:txBody>
      </p:sp>
      <p:sp>
        <p:nvSpPr>
          <p:cNvPr id="8" name="Rectangle: Rounded Corners 7">
            <a:extLst>
              <a:ext uri="{FF2B5EF4-FFF2-40B4-BE49-F238E27FC236}">
                <a16:creationId xmlns:a16="http://schemas.microsoft.com/office/drawing/2014/main" id="{E270DD24-2013-4CF8-AF46-5CF5A1629598}"/>
              </a:ext>
              <a:ext uri="{C183D7F6-B498-43B3-948B-1728B52AA6E4}">
                <adec:decorative xmlns:adec="http://schemas.microsoft.com/office/drawing/2017/decorative" val="1"/>
              </a:ext>
            </a:extLst>
          </p:cNvPr>
          <p:cNvSpPr/>
          <p:nvPr/>
        </p:nvSpPr>
        <p:spPr>
          <a:xfrm>
            <a:off x="7571510" y="3505200"/>
            <a:ext cx="2188519" cy="2355273"/>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0D6CB9"/>
                </a:solidFill>
                <a:effectLst/>
                <a:uLnTx/>
                <a:uFillTx/>
                <a:latin typeface="Calibri" panose="020F0502020204030204"/>
                <a:ea typeface="+mn-ea"/>
                <a:cs typeface="+mn-cs"/>
              </a:rPr>
              <a:t>Sci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sng" strike="noStrike" kern="1200" cap="none" spc="0" normalizeH="0" baseline="0" noProof="0">
              <a:ln>
                <a:noFill/>
              </a:ln>
              <a:solidFill>
                <a:srgbClr val="0D6CB9"/>
              </a:solidFill>
              <a:effectLst/>
              <a:uLnTx/>
              <a:uFillTx/>
              <a:latin typeface="-apple-system"/>
              <a:ea typeface="+mn-ea"/>
              <a:cs typeface="+mn-cs"/>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Graphics</a:t>
            </a:r>
            <a:endParaRPr kumimoji="0" lang="en-US" sz="2000" b="0" i="0" u="sng" strike="noStrike" kern="1200" cap="none" spc="0" normalizeH="0" baseline="0" noProof="0">
              <a:ln>
                <a:noFill/>
              </a:ln>
              <a:solidFill>
                <a:srgbClr val="0D6CB9"/>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99C9E000-E089-4C69-A131-8B092FB7FEB4}"/>
              </a:ext>
              <a:ext uri="{C183D7F6-B498-43B3-948B-1728B52AA6E4}">
                <adec:decorative xmlns:adec="http://schemas.microsoft.com/office/drawing/2017/decorative" val="1"/>
              </a:ext>
            </a:extLst>
          </p:cNvPr>
          <p:cNvSpPr/>
          <p:nvPr/>
        </p:nvSpPr>
        <p:spPr>
          <a:xfrm>
            <a:off x="9906000" y="3505199"/>
            <a:ext cx="2105891" cy="2355273"/>
          </a:xfrm>
          <a:prstGeom prst="roundRect">
            <a:avLst/>
          </a:prstGeom>
          <a:solidFill>
            <a:schemeClr val="bg1"/>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0D6CB9"/>
                </a:solidFill>
                <a:effectLst/>
                <a:uLnTx/>
                <a:uFillTx/>
                <a:latin typeface="Calibri" panose="020F0502020204030204"/>
                <a:ea typeface="+mn-ea"/>
                <a:cs typeface="+mn-cs"/>
              </a:rPr>
              <a:t>Social Stud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sng" strike="noStrike" kern="1200" cap="none" spc="0" normalizeH="0" baseline="0" noProof="0">
              <a:ln>
                <a:noFill/>
              </a:ln>
              <a:solidFill>
                <a:srgbClr val="0D6CB9"/>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Graphics</a:t>
            </a:r>
          </a:p>
        </p:txBody>
      </p:sp>
      <p:cxnSp>
        <p:nvCxnSpPr>
          <p:cNvPr id="15" name="Straight Arrow Connector 14">
            <a:extLst>
              <a:ext uri="{FF2B5EF4-FFF2-40B4-BE49-F238E27FC236}">
                <a16:creationId xmlns:a16="http://schemas.microsoft.com/office/drawing/2014/main" id="{CCD310A7-1F09-4E49-B2F6-63B6507D43FA}"/>
              </a:ext>
              <a:ext uri="{C183D7F6-B498-43B3-948B-1728B52AA6E4}">
                <adec:decorative xmlns:adec="http://schemas.microsoft.com/office/drawing/2017/decorative" val="1"/>
              </a:ext>
            </a:extLst>
          </p:cNvPr>
          <p:cNvCxnSpPr>
            <a:cxnSpLocks/>
          </p:cNvCxnSpPr>
          <p:nvPr/>
        </p:nvCxnSpPr>
        <p:spPr>
          <a:xfrm>
            <a:off x="1188027" y="3080986"/>
            <a:ext cx="0" cy="429486"/>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519396F-4F38-42E1-AF3E-5B24C8D29252}"/>
              </a:ext>
              <a:ext uri="{C183D7F6-B498-43B3-948B-1728B52AA6E4}">
                <adec:decorative xmlns:adec="http://schemas.microsoft.com/office/drawing/2017/decorative" val="1"/>
              </a:ext>
            </a:extLst>
          </p:cNvPr>
          <p:cNvCxnSpPr>
            <a:cxnSpLocks/>
          </p:cNvCxnSpPr>
          <p:nvPr/>
        </p:nvCxnSpPr>
        <p:spPr>
          <a:xfrm>
            <a:off x="3771405" y="3080986"/>
            <a:ext cx="0" cy="429486"/>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BA5CDDF-E5BD-41DB-A513-FB303F6BB9CE}"/>
              </a:ext>
              <a:ext uri="{C183D7F6-B498-43B3-948B-1728B52AA6E4}">
                <adec:decorative xmlns:adec="http://schemas.microsoft.com/office/drawing/2017/decorative" val="1"/>
              </a:ext>
            </a:extLst>
          </p:cNvPr>
          <p:cNvCxnSpPr>
            <a:cxnSpLocks/>
          </p:cNvCxnSpPr>
          <p:nvPr/>
        </p:nvCxnSpPr>
        <p:spPr>
          <a:xfrm>
            <a:off x="10983191" y="3080986"/>
            <a:ext cx="0" cy="429486"/>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B3FC7A2-6CCF-4E53-8ED0-A69B2C925501}"/>
              </a:ext>
              <a:ext uri="{C183D7F6-B498-43B3-948B-1728B52AA6E4}">
                <adec:decorative xmlns:adec="http://schemas.microsoft.com/office/drawing/2017/decorative" val="1"/>
              </a:ext>
            </a:extLst>
          </p:cNvPr>
          <p:cNvCxnSpPr>
            <a:cxnSpLocks/>
          </p:cNvCxnSpPr>
          <p:nvPr/>
        </p:nvCxnSpPr>
        <p:spPr>
          <a:xfrm>
            <a:off x="8600209" y="3080986"/>
            <a:ext cx="0" cy="429486"/>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F68DD4E-DF84-4C02-AED6-0B4DDF02DE30}"/>
              </a:ext>
              <a:ext uri="{C183D7F6-B498-43B3-948B-1728B52AA6E4}">
                <adec:decorative xmlns:adec="http://schemas.microsoft.com/office/drawing/2017/decorative" val="1"/>
              </a:ext>
            </a:extLst>
          </p:cNvPr>
          <p:cNvCxnSpPr>
            <a:cxnSpLocks/>
          </p:cNvCxnSpPr>
          <p:nvPr/>
        </p:nvCxnSpPr>
        <p:spPr>
          <a:xfrm>
            <a:off x="6164777" y="3080986"/>
            <a:ext cx="0" cy="429486"/>
          </a:xfrm>
          <a:prstGeom prst="straightConnector1">
            <a:avLst/>
          </a:prstGeom>
          <a:ln w="22225">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E024A702-0D57-4521-A8B3-23C3F140C88A}"/>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0265242" y="153230"/>
            <a:ext cx="1670449" cy="646232"/>
          </a:xfrm>
          <a:prstGeom prst="rect">
            <a:avLst/>
          </a:prstGeom>
        </p:spPr>
      </p:pic>
      <p:sp>
        <p:nvSpPr>
          <p:cNvPr id="19" name="Slide Number Placeholder 18">
            <a:extLst>
              <a:ext uri="{FF2B5EF4-FFF2-40B4-BE49-F238E27FC236}">
                <a16:creationId xmlns:a16="http://schemas.microsoft.com/office/drawing/2014/main" id="{96B3CB37-0905-4D5C-BC0C-AB652F942130}"/>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056817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Requirements for Local Decision-Making Authorities</a:t>
            </a:r>
          </a:p>
        </p:txBody>
      </p:sp>
      <p:pic>
        <p:nvPicPr>
          <p:cNvPr id="12" name="Graphic 11">
            <a:extLst>
              <a:ext uri="{FF2B5EF4-FFF2-40B4-BE49-F238E27FC236}">
                <a16:creationId xmlns:a16="http://schemas.microsoft.com/office/drawing/2014/main" id="{0BCFF393-AAB0-4327-9A6F-FF59D165156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924" y="1081314"/>
            <a:ext cx="753562" cy="753562"/>
          </a:xfrm>
          <a:prstGeom prst="rect">
            <a:avLst/>
          </a:prstGeom>
        </p:spPr>
      </p:pic>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graphicFrame>
        <p:nvGraphicFramePr>
          <p:cNvPr id="6" name="Diagram 5">
            <a:extLst>
              <a:ext uri="{FF2B5EF4-FFF2-40B4-BE49-F238E27FC236}">
                <a16:creationId xmlns:a16="http://schemas.microsoft.com/office/drawing/2014/main" id="{BFA91BEA-1134-43A4-B543-CA11E86186C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22495019"/>
              </p:ext>
            </p:extLst>
          </p:nvPr>
        </p:nvGraphicFramePr>
        <p:xfrm>
          <a:off x="256309" y="845127"/>
          <a:ext cx="11679382" cy="180801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0" name="TextBox 19">
            <a:extLst>
              <a:ext uri="{FF2B5EF4-FFF2-40B4-BE49-F238E27FC236}">
                <a16:creationId xmlns:a16="http://schemas.microsoft.com/office/drawing/2014/main" id="{EC590AE5-AB21-4A41-9220-C8566BDD40FD}"/>
              </a:ext>
            </a:extLst>
          </p:cNvPr>
          <p:cNvSpPr txBox="1"/>
          <p:nvPr/>
        </p:nvSpPr>
        <p:spPr>
          <a:xfrm>
            <a:off x="258456" y="1694886"/>
            <a:ext cx="1184680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a:ln>
                  <a:noFill/>
                </a:ln>
                <a:solidFill>
                  <a:srgbClr val="0D6CB9"/>
                </a:solidFill>
                <a:effectLst/>
                <a:uLnTx/>
                <a:uFillTx/>
                <a:latin typeface="Open Sans"/>
                <a:ea typeface="+mn-ea"/>
                <a:cs typeface="+mn-cs"/>
              </a:rPr>
              <a:t>REMEMBER</a:t>
            </a:r>
            <a:r>
              <a:rPr kumimoji="0" lang="en-US" altLang="en-US" sz="1800" b="0" i="0" u="none" strike="noStrike" kern="1200" cap="none" spc="0" normalizeH="0" baseline="0" noProof="0">
                <a:ln>
                  <a:noFill/>
                </a:ln>
                <a:solidFill>
                  <a:srgbClr val="0D6CB9"/>
                </a:solidFill>
                <a:effectLst/>
                <a:uLnTx/>
                <a:uFillTx/>
                <a:latin typeface="Open Sans"/>
                <a:ea typeface="+mn-ea"/>
                <a:cs typeface="+mn-cs"/>
              </a:rPr>
              <a:t>: </a:t>
            </a:r>
            <a:r>
              <a:rPr kumimoji="0" lang="en-US" altLang="en-US" sz="1800" b="1" i="0" u="none" strike="noStrike" kern="1200" cap="none" spc="0" normalizeH="0" baseline="0" noProof="0">
                <a:ln>
                  <a:noFill/>
                </a:ln>
                <a:solidFill>
                  <a:srgbClr val="0D6CB9"/>
                </a:solidFill>
                <a:effectLst/>
                <a:uLnTx/>
                <a:uFillTx/>
                <a:latin typeface="Open Sans"/>
                <a:ea typeface="+mn-ea"/>
                <a:cs typeface="+mn-cs"/>
              </a:rPr>
              <a:t>Multiplication and addition charts are considered calculation aids NOT supplemental aids</a:t>
            </a:r>
            <a:r>
              <a:rPr kumimoji="0" lang="en-US" altLang="en-US" sz="1800" b="1" i="0" u="none" strike="noStrike" kern="1200" cap="none" spc="0" normalizeH="0" baseline="0" noProof="0">
                <a:ln>
                  <a:noFill/>
                </a:ln>
                <a:solidFill>
                  <a:prstClr val="black"/>
                </a:solidFill>
                <a:effectLst/>
                <a:uLnTx/>
                <a:uFillTx/>
                <a:latin typeface="Open Sans"/>
                <a:ea typeface="+mn-ea"/>
                <a:cs typeface="+mn-cs"/>
              </a:rPr>
              <a:t>.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8" name="Content Placeholder 8" descr="image showing number charts vs. calculation aids">
            <a:extLst>
              <a:ext uri="{FF2B5EF4-FFF2-40B4-BE49-F238E27FC236}">
                <a16:creationId xmlns:a16="http://schemas.microsoft.com/office/drawing/2014/main" id="{BE32F59B-1C3F-458F-AE75-80073990790C}"/>
              </a:ext>
            </a:extLst>
          </p:cNvPr>
          <p:cNvPicPr>
            <a:picLocks noChangeAspect="1"/>
          </p:cNvPicPr>
          <p:nvPr/>
        </p:nvPicPr>
        <p:blipFill>
          <a:blip r:embed="rId10"/>
          <a:stretch>
            <a:fillRect/>
          </a:stretch>
        </p:blipFill>
        <p:spPr>
          <a:xfrm>
            <a:off x="5861951" y="2315029"/>
            <a:ext cx="6226141" cy="3697844"/>
          </a:xfrm>
          <a:prstGeom prst="rect">
            <a:avLst/>
          </a:prstGeom>
          <a:ln w="47625">
            <a:solidFill>
              <a:srgbClr val="4472C4"/>
            </a:solidFill>
          </a:ln>
        </p:spPr>
      </p:pic>
      <p:pic>
        <p:nvPicPr>
          <p:cNvPr id="3" name="Picture 2">
            <a:extLst>
              <a:ext uri="{FF2B5EF4-FFF2-40B4-BE49-F238E27FC236}">
                <a16:creationId xmlns:a16="http://schemas.microsoft.com/office/drawing/2014/main" id="{520C3E1C-3597-41C3-9CAE-A9617C2D6E83}"/>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10265242" y="153230"/>
            <a:ext cx="1670449" cy="646232"/>
          </a:xfrm>
          <a:prstGeom prst="rect">
            <a:avLst/>
          </a:prstGeom>
        </p:spPr>
      </p:pic>
      <p:pic>
        <p:nvPicPr>
          <p:cNvPr id="4" name="Picture 3" descr="image showing number charts vs. calculation aids">
            <a:extLst>
              <a:ext uri="{FF2B5EF4-FFF2-40B4-BE49-F238E27FC236}">
                <a16:creationId xmlns:a16="http://schemas.microsoft.com/office/drawing/2014/main" id="{CC7F4006-F811-407C-BFF2-EECDA54F7AA7}"/>
              </a:ext>
              <a:ext uri="{C183D7F6-B498-43B3-948B-1728B52AA6E4}">
                <adec:decorative xmlns:adec="http://schemas.microsoft.com/office/drawing/2017/decorative" val="0"/>
              </a:ext>
            </a:extLst>
          </p:cNvPr>
          <p:cNvPicPr>
            <a:picLocks noChangeAspect="1"/>
          </p:cNvPicPr>
          <p:nvPr/>
        </p:nvPicPr>
        <p:blipFill>
          <a:blip r:embed="rId12"/>
          <a:stretch>
            <a:fillRect/>
          </a:stretch>
        </p:blipFill>
        <p:spPr>
          <a:xfrm>
            <a:off x="83991" y="2315030"/>
            <a:ext cx="5520907" cy="3697844"/>
          </a:xfrm>
          <a:prstGeom prst="rect">
            <a:avLst/>
          </a:prstGeom>
          <a:ln w="44450">
            <a:solidFill>
              <a:srgbClr val="0D6CB9"/>
            </a:solidFill>
          </a:ln>
        </p:spPr>
      </p:pic>
      <p:sp>
        <p:nvSpPr>
          <p:cNvPr id="11" name="Slide Number Placeholder 10">
            <a:extLst>
              <a:ext uri="{FF2B5EF4-FFF2-40B4-BE49-F238E27FC236}">
                <a16:creationId xmlns:a16="http://schemas.microsoft.com/office/drawing/2014/main" id="{5F0569A9-9A31-4A45-B083-B8E20FF813D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5211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1B9E0-8BB0-49AB-B670-6F0FAC194D9E}"/>
              </a:ext>
            </a:extLst>
          </p:cNvPr>
          <p:cNvSpPr>
            <a:spLocks noGrp="1"/>
          </p:cNvSpPr>
          <p:nvPr>
            <p:ph type="title"/>
          </p:nvPr>
        </p:nvSpPr>
        <p:spPr/>
        <p:txBody>
          <a:bodyPr/>
          <a:lstStyle/>
          <a:p>
            <a:r>
              <a:rPr lang="en-US" dirty="0"/>
              <a:t>Designated Supports Requiring TEA Approval</a:t>
            </a:r>
          </a:p>
        </p:txBody>
      </p:sp>
      <p:grpSp>
        <p:nvGrpSpPr>
          <p:cNvPr id="13" name="Group 12" descr="Overview of Designated Supports Requiring TEA approval">
            <a:extLst>
              <a:ext uri="{FF2B5EF4-FFF2-40B4-BE49-F238E27FC236}">
                <a16:creationId xmlns:a16="http://schemas.microsoft.com/office/drawing/2014/main" id="{BE9758CE-F5A9-424E-8900-731A003852A0}"/>
              </a:ext>
            </a:extLst>
          </p:cNvPr>
          <p:cNvGrpSpPr/>
          <p:nvPr/>
        </p:nvGrpSpPr>
        <p:grpSpPr>
          <a:xfrm>
            <a:off x="1084348" y="1148257"/>
            <a:ext cx="5403916" cy="1301286"/>
            <a:chOff x="3047881" y="2567095"/>
            <a:chExt cx="5143581" cy="1627940"/>
          </a:xfrm>
          <a:solidFill>
            <a:schemeClr val="bg2"/>
          </a:solidFill>
        </p:grpSpPr>
        <p:sp>
          <p:nvSpPr>
            <p:cNvPr id="14" name="Rectangle 13">
              <a:extLst>
                <a:ext uri="{FF2B5EF4-FFF2-40B4-BE49-F238E27FC236}">
                  <a16:creationId xmlns:a16="http://schemas.microsoft.com/office/drawing/2014/main" id="{0374351B-D282-4D77-84F1-5E664287B863}"/>
                </a:ext>
              </a:extLst>
            </p:cNvPr>
            <p:cNvSpPr/>
            <p:nvPr/>
          </p:nvSpPr>
          <p:spPr>
            <a:xfrm>
              <a:off x="3047881" y="2567095"/>
              <a:ext cx="5143581" cy="1607369"/>
            </a:xfrm>
            <a:prstGeom prst="rect">
              <a:avLst/>
            </a:prstGeom>
            <a:grpFill/>
            <a:ln w="31750">
              <a:solidFill>
                <a:schemeClr val="tx2"/>
              </a:solidFill>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066874EB-65B3-43CA-A367-CBC746252A2E}"/>
                </a:ext>
              </a:extLst>
            </p:cNvPr>
            <p:cNvSpPr txBox="1"/>
            <p:nvPr/>
          </p:nvSpPr>
          <p:spPr>
            <a:xfrm>
              <a:off x="3047883" y="2587666"/>
              <a:ext cx="4887725" cy="1607369"/>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8725" tIns="121920" rIns="121920" bIns="121920" numCol="1" spcCol="1270" anchor="ctr" anchorCtr="0">
              <a:noAutofit/>
            </a:bodyPr>
            <a:lstStyle/>
            <a:p>
              <a:pPr marL="0" marR="0" lvl="0" indent="0" algn="l" defTabSz="1422400" rtl="0" eaLnBrk="1" fontAlgn="auto" latinLnBrk="0" hangingPunct="1">
                <a:lnSpc>
                  <a:spcPct val="90000"/>
                </a:lnSpc>
                <a:spcBef>
                  <a:spcPct val="0"/>
                </a:spcBef>
                <a:spcAft>
                  <a:spcPct val="35000"/>
                </a:spcAft>
                <a:buClrTx/>
                <a:buSzTx/>
                <a:buFontTx/>
                <a:buNone/>
                <a:tabLst/>
                <a:defRPr/>
              </a:pPr>
              <a:r>
                <a:rPr kumimoji="0" lang="en-US" sz="2700" b="0" i="0" u="none" strike="noStrike" kern="1200" cap="none" spc="0" normalizeH="0" baseline="0" noProof="0">
                  <a:ln>
                    <a:noFill/>
                  </a:ln>
                  <a:solidFill>
                    <a:srgbClr val="0D6CB9"/>
                  </a:solidFill>
                  <a:effectLst/>
                  <a:uLnTx/>
                  <a:uFillTx/>
                  <a:latin typeface="Calibri" panose="020F0502020204030204"/>
                  <a:ea typeface="+mn-ea"/>
                  <a:cs typeface="+mn-cs"/>
                </a:rPr>
                <a:t>Overview of Designated Supports Requiring TEA Approval</a:t>
              </a:r>
            </a:p>
          </p:txBody>
        </p:sp>
      </p:grpSp>
      <p:sp>
        <p:nvSpPr>
          <p:cNvPr id="11" name="TextBox 10">
            <a:extLst>
              <a:ext uri="{FF2B5EF4-FFF2-40B4-BE49-F238E27FC236}">
                <a16:creationId xmlns:a16="http://schemas.microsoft.com/office/drawing/2014/main" id="{30CC4B24-BD5B-4A5B-A3DA-D6997826DC1A}"/>
              </a:ext>
            </a:extLst>
          </p:cNvPr>
          <p:cNvSpPr txBox="1"/>
          <p:nvPr/>
        </p:nvSpPr>
        <p:spPr>
          <a:xfrm>
            <a:off x="1325994" y="2440903"/>
            <a:ext cx="10201610" cy="2677656"/>
          </a:xfrm>
          <a:prstGeom prst="rect">
            <a:avLst/>
          </a:prstGeom>
          <a:solidFill>
            <a:schemeClr val="bg1">
              <a:lumMod val="95000"/>
              <a:alpha val="34000"/>
            </a:schemeClr>
          </a:solidFill>
          <a:ln w="41275">
            <a:solidFill>
              <a:schemeClr val="accent6"/>
            </a:solidFill>
          </a:ln>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Supports that may be made available to students who have a </a:t>
            </a:r>
            <a:r>
              <a:rPr kumimoji="0" lang="en-US" sz="2400" b="1" i="0" u="none" strike="noStrike" kern="1200" cap="none" spc="0" normalizeH="0" baseline="0" noProof="0">
                <a:ln>
                  <a:noFill/>
                </a:ln>
                <a:solidFill>
                  <a:srgbClr val="0D6CB9"/>
                </a:solidFill>
                <a:effectLst/>
                <a:uLnTx/>
                <a:uFillTx/>
                <a:latin typeface="Calibri" panose="020F0502020204030204"/>
                <a:ea typeface="+mn-ea"/>
                <a:cs typeface="+mn-cs"/>
              </a:rPr>
              <a:t>TEA-approved</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 accommodation request </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Eligibility decisions are made by the appropriate team of people at the campus level based on the eligibility criteria, and then an </a:t>
            </a:r>
            <a:r>
              <a:rPr kumimoji="0" lang="en-US" sz="2400" b="1" i="0" u="none" strike="noStrike" kern="1200" cap="none" spc="0" normalizeH="0" baseline="0" noProof="0">
                <a:ln>
                  <a:noFill/>
                </a:ln>
                <a:solidFill>
                  <a:srgbClr val="0D6CB9"/>
                </a:solidFill>
                <a:effectLst/>
                <a:uLnTx/>
                <a:uFillTx/>
                <a:latin typeface="Calibri" panose="020F0502020204030204"/>
                <a:ea typeface="+mn-ea"/>
                <a:cs typeface="+mn-cs"/>
              </a:rPr>
              <a:t>Accommodation Request </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is submitted in TIDE for TEA to review</a:t>
            </a: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Other determinations should be made in conjunction with the testing coordinator prior to submitting to ensure appropriateness </a:t>
            </a: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Calibri"/>
            </a:endParaRPr>
          </a:p>
        </p:txBody>
      </p:sp>
      <p:sp>
        <p:nvSpPr>
          <p:cNvPr id="16" name="Rectangle 15">
            <a:extLst>
              <a:ext uri="{FF2B5EF4-FFF2-40B4-BE49-F238E27FC236}">
                <a16:creationId xmlns:a16="http://schemas.microsoft.com/office/drawing/2014/main" id="{C0259BCC-6844-45BC-83CA-C2FB14E227F6}"/>
              </a:ext>
              <a:ext uri="{C183D7F6-B498-43B3-948B-1728B52AA6E4}">
                <adec:decorative xmlns:adec="http://schemas.microsoft.com/office/drawing/2017/decorative" val="1"/>
              </a:ext>
            </a:extLst>
          </p:cNvPr>
          <p:cNvSpPr/>
          <p:nvPr/>
        </p:nvSpPr>
        <p:spPr>
          <a:xfrm>
            <a:off x="815546" y="995461"/>
            <a:ext cx="1020895" cy="1354561"/>
          </a:xfrm>
          <a:prstGeom prst="rect">
            <a:avLst/>
          </a:prstGeom>
          <a:solidFill>
            <a:schemeClr val="accent6"/>
          </a:solidFill>
          <a:ln>
            <a:solidFill>
              <a:srgbClr val="0A518B"/>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hueOff val="0"/>
                  <a:satOff val="0"/>
                  <a:lumOff val="0"/>
                  <a:alphaOff val="0"/>
                </a:prstClr>
              </a:solidFill>
              <a:effectLst/>
              <a:uLnTx/>
              <a:uFillTx/>
              <a:latin typeface="Calibri" panose="020F0502020204030204"/>
              <a:ea typeface="+mn-ea"/>
              <a:cs typeface="+mn-cs"/>
            </a:endParaRPr>
          </a:p>
        </p:txBody>
      </p:sp>
      <p:pic>
        <p:nvPicPr>
          <p:cNvPr id="3" name="Graphic 2">
            <a:extLst>
              <a:ext uri="{FF2B5EF4-FFF2-40B4-BE49-F238E27FC236}">
                <a16:creationId xmlns:a16="http://schemas.microsoft.com/office/drawing/2014/main" id="{A7568AC0-9C6D-4184-8F3C-51C5D573CE8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546" y="1012157"/>
            <a:ext cx="914400" cy="914400"/>
          </a:xfrm>
          <a:prstGeom prst="rect">
            <a:avLst/>
          </a:prstGeom>
        </p:spPr>
      </p:pic>
      <p:sp>
        <p:nvSpPr>
          <p:cNvPr id="21" name="Scroll: Horizontal 20">
            <a:extLst>
              <a:ext uri="{FF2B5EF4-FFF2-40B4-BE49-F238E27FC236}">
                <a16:creationId xmlns:a16="http://schemas.microsoft.com/office/drawing/2014/main" id="{5F46280E-BEBB-4457-8EE9-0BB18D05C5C1}"/>
              </a:ext>
            </a:extLst>
          </p:cNvPr>
          <p:cNvSpPr/>
          <p:nvPr/>
        </p:nvSpPr>
        <p:spPr>
          <a:xfrm>
            <a:off x="1177061" y="5205876"/>
            <a:ext cx="10622405" cy="775772"/>
          </a:xfrm>
          <a:prstGeom prst="horizontalScroll">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Policy documents located on the DCCR and Accommodation Resources Website </a:t>
            </a:r>
          </a:p>
        </p:txBody>
      </p:sp>
      <p:sp>
        <p:nvSpPr>
          <p:cNvPr id="6" name="Slide Number Placeholder 5">
            <a:extLst>
              <a:ext uri="{FF2B5EF4-FFF2-40B4-BE49-F238E27FC236}">
                <a16:creationId xmlns:a16="http://schemas.microsoft.com/office/drawing/2014/main" id="{7468956A-A70F-411C-9FBE-D04EB12E4936}"/>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587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8CA3870-531C-444A-A757-1FE9B2BD7EC1}"/>
              </a:ext>
              <a:ext uri="{C183D7F6-B498-43B3-948B-1728B52AA6E4}">
                <adec:decorative xmlns:adec="http://schemas.microsoft.com/office/drawing/2017/decorative" val="1"/>
              </a:ext>
            </a:extLst>
          </p:cNvPr>
          <p:cNvSpPr/>
          <p:nvPr/>
        </p:nvSpPr>
        <p:spPr>
          <a:xfrm>
            <a:off x="357963" y="1407718"/>
            <a:ext cx="11476074" cy="4405022"/>
          </a:xfrm>
          <a:prstGeom prst="rect">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Requiring TEA Approval</a:t>
            </a:r>
          </a:p>
        </p:txBody>
      </p:sp>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a:cxnSpLocks/>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388832ED-AFD6-4F87-A0C2-8B5E7E9A20B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300747" y="153230"/>
            <a:ext cx="1533290" cy="753562"/>
          </a:xfrm>
          <a:prstGeom prst="rect">
            <a:avLst/>
          </a:prstGeom>
        </p:spPr>
      </p:pic>
      <p:graphicFrame>
        <p:nvGraphicFramePr>
          <p:cNvPr id="10" name="Diagram 9" descr="complex transcribing">
            <a:extLst>
              <a:ext uri="{FF2B5EF4-FFF2-40B4-BE49-F238E27FC236}">
                <a16:creationId xmlns:a16="http://schemas.microsoft.com/office/drawing/2014/main" id="{39839114-7C32-4687-B952-D656339911A8}"/>
              </a:ext>
            </a:extLst>
          </p:cNvPr>
          <p:cNvGraphicFramePr/>
          <p:nvPr>
            <p:extLst>
              <p:ext uri="{D42A27DB-BD31-4B8C-83A1-F6EECF244321}">
                <p14:modId xmlns:p14="http://schemas.microsoft.com/office/powerpoint/2010/main" val="1172074170"/>
              </p:ext>
            </p:extLst>
          </p:nvPr>
        </p:nvGraphicFramePr>
        <p:xfrm>
          <a:off x="1132114" y="1005250"/>
          <a:ext cx="9496356" cy="9195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3" name="Graphic 12">
            <a:extLst>
              <a:ext uri="{FF2B5EF4-FFF2-40B4-BE49-F238E27FC236}">
                <a16:creationId xmlns:a16="http://schemas.microsoft.com/office/drawing/2014/main" id="{125BF65F-16EC-4A60-92E0-C03FD66E0704}"/>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20990" y="1121645"/>
            <a:ext cx="686795" cy="686795"/>
          </a:xfrm>
          <a:prstGeom prst="rect">
            <a:avLst/>
          </a:prstGeom>
        </p:spPr>
      </p:pic>
      <p:sp>
        <p:nvSpPr>
          <p:cNvPr id="18" name="TextBox 17">
            <a:extLst>
              <a:ext uri="{FF2B5EF4-FFF2-40B4-BE49-F238E27FC236}">
                <a16:creationId xmlns:a16="http://schemas.microsoft.com/office/drawing/2014/main" id="{30ED243A-9892-4B52-B5FF-A1C9A4041EC3}"/>
              </a:ext>
            </a:extLst>
          </p:cNvPr>
          <p:cNvSpPr txBox="1"/>
          <p:nvPr/>
        </p:nvSpPr>
        <p:spPr>
          <a:xfrm>
            <a:off x="712380" y="2086735"/>
            <a:ext cx="5279337" cy="3416320"/>
          </a:xfrm>
          <a:prstGeom prst="rect">
            <a:avLst/>
          </a:prstGeom>
          <a:noFill/>
          <a:ln w="47625">
            <a:solidFill>
              <a:srgbClr val="F16038"/>
            </a:solidFill>
          </a:ln>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D6CB9"/>
                </a:solidFill>
                <a:effectLst/>
                <a:uLnTx/>
                <a:uFillTx/>
                <a:latin typeface="Calibri" panose="020F0502020204030204"/>
                <a:ea typeface="+mn-ea"/>
                <a:cs typeface="+mn-cs"/>
              </a:rPr>
              <a:t>This designated support allows a test administrator to record into TDS or from paper into DEI a student’s dictated or signed responses to the constructed response items when a student is unable to accomplish this task independent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C5376112-8D13-434E-99C4-A20D27B3BF4D}"/>
              </a:ext>
            </a:extLst>
          </p:cNvPr>
          <p:cNvSpPr txBox="1"/>
          <p:nvPr/>
        </p:nvSpPr>
        <p:spPr>
          <a:xfrm>
            <a:off x="6154311" y="2086735"/>
            <a:ext cx="5279339" cy="3416320"/>
          </a:xfrm>
          <a:prstGeom prst="rect">
            <a:avLst/>
          </a:prstGeom>
          <a:solidFill>
            <a:schemeClr val="accent1">
              <a:lumMod val="20000"/>
              <a:lumOff val="80000"/>
            </a:schemeClr>
          </a:solid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Intended for an extremely small group of students with disabilities </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TEA will provide, with any approved submitted accommodation request, specific guidelines about how to transcribe the student’s responses to the writing prompts, including how to indicate the student’s spelling, punctuation, and capitalization</a:t>
            </a:r>
          </a:p>
        </p:txBody>
      </p:sp>
      <p:sp>
        <p:nvSpPr>
          <p:cNvPr id="11" name="Slide Number Placeholder 10">
            <a:extLst>
              <a:ext uri="{FF2B5EF4-FFF2-40B4-BE49-F238E27FC236}">
                <a16:creationId xmlns:a16="http://schemas.microsoft.com/office/drawing/2014/main" id="{2E4E8559-39AF-4732-ADCD-0ED88DE61AA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28633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8CA3870-531C-444A-A757-1FE9B2BD7EC1}"/>
              </a:ext>
              <a:ext uri="{C183D7F6-B498-43B3-948B-1728B52AA6E4}">
                <adec:decorative xmlns:adec="http://schemas.microsoft.com/office/drawing/2017/decorative" val="1"/>
              </a:ext>
            </a:extLst>
          </p:cNvPr>
          <p:cNvSpPr/>
          <p:nvPr/>
        </p:nvSpPr>
        <p:spPr>
          <a:xfrm>
            <a:off x="357963" y="1407718"/>
            <a:ext cx="11476074" cy="4405022"/>
          </a:xfrm>
          <a:prstGeom prst="rect">
            <a:avLst/>
          </a:prstGeom>
          <a:solidFill>
            <a:schemeClr val="bg1"/>
          </a:solidFill>
          <a:ln w="5080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Requiring TEA Approval</a:t>
            </a:r>
          </a:p>
        </p:txBody>
      </p:sp>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a:cxnSpLocks/>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388832ED-AFD6-4F87-A0C2-8B5E7E9A20B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300747" y="153230"/>
            <a:ext cx="1533290" cy="753562"/>
          </a:xfrm>
          <a:prstGeom prst="rect">
            <a:avLst/>
          </a:prstGeom>
        </p:spPr>
      </p:pic>
      <p:graphicFrame>
        <p:nvGraphicFramePr>
          <p:cNvPr id="10" name="Diagram 9" descr="mathematics scribe">
            <a:extLst>
              <a:ext uri="{FF2B5EF4-FFF2-40B4-BE49-F238E27FC236}">
                <a16:creationId xmlns:a16="http://schemas.microsoft.com/office/drawing/2014/main" id="{39839114-7C32-4687-B952-D656339911A8}"/>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3758351493"/>
              </p:ext>
            </p:extLst>
          </p:nvPr>
        </p:nvGraphicFramePr>
        <p:xfrm>
          <a:off x="1132114" y="1005250"/>
          <a:ext cx="9496356" cy="9195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TextBox 17">
            <a:extLst>
              <a:ext uri="{FF2B5EF4-FFF2-40B4-BE49-F238E27FC236}">
                <a16:creationId xmlns:a16="http://schemas.microsoft.com/office/drawing/2014/main" id="{30ED243A-9892-4B52-B5FF-A1C9A4041EC3}"/>
              </a:ext>
            </a:extLst>
          </p:cNvPr>
          <p:cNvSpPr txBox="1"/>
          <p:nvPr/>
        </p:nvSpPr>
        <p:spPr>
          <a:xfrm>
            <a:off x="758351" y="2106877"/>
            <a:ext cx="5279337" cy="3416320"/>
          </a:xfrm>
          <a:prstGeom prst="rect">
            <a:avLst/>
          </a:prstGeom>
          <a:noFill/>
          <a:ln w="47625">
            <a:solidFill>
              <a:srgbClr val="F16038"/>
            </a:solidFill>
          </a:ln>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This designated support allows a test administrator to record a student’s dictated mathematics scratch work and computations when a disabling condition prevents the student from accomplishing this task independent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Graphic 4">
            <a:extLst>
              <a:ext uri="{FF2B5EF4-FFF2-40B4-BE49-F238E27FC236}">
                <a16:creationId xmlns:a16="http://schemas.microsoft.com/office/drawing/2014/main" id="{A09074C2-2CDD-4084-9E14-65AF5CCD0330}"/>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41158" y="1118011"/>
            <a:ext cx="634398" cy="634398"/>
          </a:xfrm>
          <a:prstGeom prst="rect">
            <a:avLst/>
          </a:prstGeom>
        </p:spPr>
      </p:pic>
      <p:sp>
        <p:nvSpPr>
          <p:cNvPr id="20" name="TextBox 19">
            <a:extLst>
              <a:ext uri="{FF2B5EF4-FFF2-40B4-BE49-F238E27FC236}">
                <a16:creationId xmlns:a16="http://schemas.microsoft.com/office/drawing/2014/main" id="{C5376112-8D13-434E-99C4-A20D27B3BF4D}"/>
              </a:ext>
            </a:extLst>
          </p:cNvPr>
          <p:cNvSpPr txBox="1"/>
          <p:nvPr/>
        </p:nvSpPr>
        <p:spPr>
          <a:xfrm>
            <a:off x="6273208" y="2106877"/>
            <a:ext cx="5279339" cy="3416320"/>
          </a:xfrm>
          <a:prstGeom prst="rect">
            <a:avLst/>
          </a:prstGeom>
          <a:solidFill>
            <a:schemeClr val="accent1">
              <a:lumMod val="20000"/>
              <a:lumOff val="80000"/>
            </a:schemeClr>
          </a:solid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The role of the mathematics scribe is to record the student’s dictated scratch work and computations exactly as the student indicates.</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The test administrator may write the student’s dictated scratch work and computations onto scratch paper, a chalkboard, white board, or the space in the student’s test booklet. </a:t>
            </a:r>
          </a:p>
        </p:txBody>
      </p:sp>
      <p:sp>
        <p:nvSpPr>
          <p:cNvPr id="11" name="Slide Number Placeholder 10">
            <a:extLst>
              <a:ext uri="{FF2B5EF4-FFF2-40B4-BE49-F238E27FC236}">
                <a16:creationId xmlns:a16="http://schemas.microsoft.com/office/drawing/2014/main" id="{E2A65396-B612-4BAB-8478-62CB73A39048}"/>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90999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8CA3870-531C-444A-A757-1FE9B2BD7EC1}"/>
              </a:ext>
              <a:ext uri="{C183D7F6-B498-43B3-948B-1728B52AA6E4}">
                <adec:decorative xmlns:adec="http://schemas.microsoft.com/office/drawing/2017/decorative" val="1"/>
              </a:ext>
            </a:extLst>
          </p:cNvPr>
          <p:cNvSpPr/>
          <p:nvPr/>
        </p:nvSpPr>
        <p:spPr>
          <a:xfrm>
            <a:off x="357963" y="1407718"/>
            <a:ext cx="11476074" cy="4405022"/>
          </a:xfrm>
          <a:prstGeom prst="rect">
            <a:avLst/>
          </a:prstGeom>
          <a:solidFill>
            <a:schemeClr val="bg1"/>
          </a:solidFill>
          <a:ln w="5080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Requiring TEA Approval</a:t>
            </a:r>
          </a:p>
        </p:txBody>
      </p:sp>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a:cxnSpLocks/>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388832ED-AFD6-4F87-A0C2-8B5E7E9A20B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300747" y="153230"/>
            <a:ext cx="1533290" cy="753562"/>
          </a:xfrm>
          <a:prstGeom prst="rect">
            <a:avLst/>
          </a:prstGeom>
        </p:spPr>
      </p:pic>
      <p:graphicFrame>
        <p:nvGraphicFramePr>
          <p:cNvPr id="10" name="Diagram 9" descr="Extra Day">
            <a:extLst>
              <a:ext uri="{FF2B5EF4-FFF2-40B4-BE49-F238E27FC236}">
                <a16:creationId xmlns:a16="http://schemas.microsoft.com/office/drawing/2014/main" id="{39839114-7C32-4687-B952-D656339911A8}"/>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771012656"/>
              </p:ext>
            </p:extLst>
          </p:nvPr>
        </p:nvGraphicFramePr>
        <p:xfrm>
          <a:off x="1132114" y="1005250"/>
          <a:ext cx="9496356" cy="9195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TextBox 17">
            <a:extLst>
              <a:ext uri="{FF2B5EF4-FFF2-40B4-BE49-F238E27FC236}">
                <a16:creationId xmlns:a16="http://schemas.microsoft.com/office/drawing/2014/main" id="{30ED243A-9892-4B52-B5FF-A1C9A4041EC3}"/>
              </a:ext>
            </a:extLst>
          </p:cNvPr>
          <p:cNvSpPr txBox="1"/>
          <p:nvPr/>
        </p:nvSpPr>
        <p:spPr>
          <a:xfrm>
            <a:off x="712380" y="2016505"/>
            <a:ext cx="5266085" cy="3754874"/>
          </a:xfrm>
          <a:prstGeom prst="rect">
            <a:avLst/>
          </a:prstGeom>
          <a:noFill/>
          <a:ln w="47625">
            <a:solidFill>
              <a:srgbClr val="F16038"/>
            </a:solidFill>
          </a:ln>
        </p:spPr>
        <p:txBody>
          <a:bodyPr wrap="squar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D6CB9"/>
                </a:solidFill>
                <a:effectLst/>
                <a:uLnTx/>
                <a:uFillTx/>
                <a:latin typeface="Calibri" panose="020F0502020204030204"/>
                <a:ea typeface="+mn-lt"/>
                <a:cs typeface="Calibri" panose="020F0502020204030204"/>
              </a:rPr>
              <a:t>This designated support allows a student with a disability an extra day to complete a state assess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NOTE: For TELPAS grades 2–12, Extra Day only applies to the online reading and writing test, the paper reading test and the online listening and speaking test. It does not apply to any holistically-rated domain, since those are assessed during authentic classroom activities and the same accommodations routinely used during classroom instruction are acceptable. </a:t>
            </a:r>
            <a:endPar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Calibri"/>
            </a:endParaRPr>
          </a:p>
        </p:txBody>
      </p:sp>
      <p:sp>
        <p:nvSpPr>
          <p:cNvPr id="20" name="TextBox 19">
            <a:extLst>
              <a:ext uri="{FF2B5EF4-FFF2-40B4-BE49-F238E27FC236}">
                <a16:creationId xmlns:a16="http://schemas.microsoft.com/office/drawing/2014/main" id="{C5376112-8D13-434E-99C4-A20D27B3BF4D}"/>
              </a:ext>
            </a:extLst>
          </p:cNvPr>
          <p:cNvSpPr txBox="1"/>
          <p:nvPr/>
        </p:nvSpPr>
        <p:spPr>
          <a:xfrm>
            <a:off x="6273208" y="2023294"/>
            <a:ext cx="5233465" cy="3693319"/>
          </a:xfrm>
          <a:prstGeom prst="rect">
            <a:avLst/>
          </a:prstGeom>
          <a:solidFill>
            <a:schemeClr val="accent1">
              <a:lumMod val="20000"/>
              <a:lumOff val="80000"/>
            </a:schemeClr>
          </a:solid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Intended for an extremely small group of students with disabilities </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Students only permitted to test over two regularly scheduled, consecutive school days</a:t>
            </a: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Each day of testing must not extend beyond seven hours</a:t>
            </a: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1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1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1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1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1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19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pic>
        <p:nvPicPr>
          <p:cNvPr id="6" name="Graphic 5">
            <a:extLst>
              <a:ext uri="{FF2B5EF4-FFF2-40B4-BE49-F238E27FC236}">
                <a16:creationId xmlns:a16="http://schemas.microsoft.com/office/drawing/2014/main" id="{B0D402F3-5AA1-45CA-AAF7-29B0D09915A9}"/>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69598" y="1086621"/>
            <a:ext cx="764742" cy="764742"/>
          </a:xfrm>
          <a:prstGeom prst="rect">
            <a:avLst/>
          </a:prstGeom>
        </p:spPr>
      </p:pic>
      <p:sp>
        <p:nvSpPr>
          <p:cNvPr id="11" name="Slide Number Placeholder 10">
            <a:extLst>
              <a:ext uri="{FF2B5EF4-FFF2-40B4-BE49-F238E27FC236}">
                <a16:creationId xmlns:a16="http://schemas.microsoft.com/office/drawing/2014/main" id="{07446A64-BBEC-4C37-A5C2-E26D3E6031FA}"/>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7894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B26E7-F544-4A5C-891B-2AA8C3FFE03B}"/>
              </a:ext>
            </a:extLst>
          </p:cNvPr>
          <p:cNvSpPr>
            <a:spLocks noGrp="1"/>
          </p:cNvSpPr>
          <p:nvPr>
            <p:ph type="title"/>
          </p:nvPr>
        </p:nvSpPr>
        <p:spPr/>
        <p:txBody>
          <a:bodyPr/>
          <a:lstStyle/>
          <a:p>
            <a:r>
              <a:rPr lang="en-US" dirty="0"/>
              <a:t>2023–2024 Accommodation </a:t>
            </a:r>
            <a:r>
              <a:rPr lang="en-US" dirty="0">
                <a:solidFill>
                  <a:srgbClr val="F16038"/>
                </a:solidFill>
              </a:rPr>
              <a:t>Update</a:t>
            </a:r>
          </a:p>
        </p:txBody>
      </p:sp>
      <p:sp>
        <p:nvSpPr>
          <p:cNvPr id="10" name="Explosion: 8 Points 5" descr="New icon">
            <a:extLst>
              <a:ext uri="{FF2B5EF4-FFF2-40B4-BE49-F238E27FC236}">
                <a16:creationId xmlns:a16="http://schemas.microsoft.com/office/drawing/2014/main" id="{5080DA17-A352-E145-B3FC-A5962686A452}"/>
              </a:ext>
            </a:extLst>
          </p:cNvPr>
          <p:cNvSpPr/>
          <p:nvPr/>
        </p:nvSpPr>
        <p:spPr>
          <a:xfrm>
            <a:off x="9983658" y="208985"/>
            <a:ext cx="1970217" cy="2016586"/>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Calibri" panose="020F0502020204030204"/>
                <a:ea typeface="+mn-ea"/>
                <a:cs typeface="+mn-cs"/>
              </a:rPr>
              <a:t>NEW</a:t>
            </a:r>
          </a:p>
        </p:txBody>
      </p:sp>
      <p:sp>
        <p:nvSpPr>
          <p:cNvPr id="9" name="Slide Number Placeholder 8">
            <a:extLst>
              <a:ext uri="{FF2B5EF4-FFF2-40B4-BE49-F238E27FC236}">
                <a16:creationId xmlns:a16="http://schemas.microsoft.com/office/drawing/2014/main" id="{3CE37351-4055-4F03-BB1E-085F57E5524E}"/>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CE66A2CD-D7E2-2291-0CF5-C9554EC96586}"/>
              </a:ext>
            </a:extLst>
          </p:cNvPr>
          <p:cNvSpPr txBox="1"/>
          <p:nvPr/>
        </p:nvSpPr>
        <p:spPr>
          <a:xfrm>
            <a:off x="9494792" y="3357550"/>
            <a:ext cx="2258522" cy="646331"/>
          </a:xfrm>
          <a:prstGeom prst="rect">
            <a:avLst/>
          </a:prstGeom>
          <a:solidFill>
            <a:schemeClr val="accent1">
              <a:lumMod val="40000"/>
              <a:lumOff val="60000"/>
            </a:schemeClr>
          </a:solidFill>
          <a:ln w="381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 TIDE, Spell Check is now specifically listed.</a:t>
            </a:r>
          </a:p>
        </p:txBody>
      </p:sp>
      <p:pic>
        <p:nvPicPr>
          <p:cNvPr id="11" name="Picture 10" descr="screenshot of the test attributes panel in tide with spell check row highlighted">
            <a:extLst>
              <a:ext uri="{FF2B5EF4-FFF2-40B4-BE49-F238E27FC236}">
                <a16:creationId xmlns:a16="http://schemas.microsoft.com/office/drawing/2014/main" id="{44A07B70-2FEB-86CF-64E3-4BA1171412EA}"/>
              </a:ext>
            </a:extLst>
          </p:cNvPr>
          <p:cNvPicPr>
            <a:picLocks noChangeAspect="1"/>
          </p:cNvPicPr>
          <p:nvPr/>
        </p:nvPicPr>
        <p:blipFill>
          <a:blip r:embed="rId3"/>
          <a:stretch>
            <a:fillRect/>
          </a:stretch>
        </p:blipFill>
        <p:spPr>
          <a:xfrm>
            <a:off x="438686" y="1364879"/>
            <a:ext cx="8544673" cy="3963855"/>
          </a:xfrm>
          <a:prstGeom prst="rect">
            <a:avLst/>
          </a:prstGeom>
          <a:ln w="38100">
            <a:solidFill>
              <a:schemeClr val="tx1"/>
            </a:solidFill>
          </a:ln>
        </p:spPr>
      </p:pic>
      <p:sp>
        <p:nvSpPr>
          <p:cNvPr id="12" name="Rectangle: Rounded Corners 11">
            <a:extLst>
              <a:ext uri="{FF2B5EF4-FFF2-40B4-BE49-F238E27FC236}">
                <a16:creationId xmlns:a16="http://schemas.microsoft.com/office/drawing/2014/main" id="{C2DA812B-AED1-4FAC-27F2-AA862DDBECC1}"/>
              </a:ext>
              <a:ext uri="{C183D7F6-B498-43B3-948B-1728B52AA6E4}">
                <adec:decorative xmlns:adec="http://schemas.microsoft.com/office/drawing/2017/decorative" val="1"/>
              </a:ext>
            </a:extLst>
          </p:cNvPr>
          <p:cNvSpPr/>
          <p:nvPr/>
        </p:nvSpPr>
        <p:spPr>
          <a:xfrm>
            <a:off x="267449" y="3429000"/>
            <a:ext cx="8887146" cy="503433"/>
          </a:xfrm>
          <a:prstGeom prst="roundRect">
            <a:avLst/>
          </a:prstGeom>
          <a:solidFill>
            <a:srgbClr val="FFFF00">
              <a:alpha val="2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939185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37DFB-2510-48E2-ACF5-75BF46D93E1A}"/>
              </a:ext>
            </a:extLst>
          </p:cNvPr>
          <p:cNvSpPr>
            <a:spLocks noGrp="1"/>
          </p:cNvSpPr>
          <p:nvPr>
            <p:ph type="title"/>
          </p:nvPr>
        </p:nvSpPr>
        <p:spPr/>
        <p:txBody>
          <a:bodyPr>
            <a:normAutofit/>
          </a:bodyPr>
          <a:lstStyle/>
          <a:p>
            <a:r>
              <a:rPr lang="en-US" dirty="0"/>
              <a:t>Designated Supports Requiring TEA Approval</a:t>
            </a:r>
          </a:p>
        </p:txBody>
      </p:sp>
      <p:graphicFrame>
        <p:nvGraphicFramePr>
          <p:cNvPr id="10" name="Diagram 9" descr="Other">
            <a:extLst>
              <a:ext uri="{FF2B5EF4-FFF2-40B4-BE49-F238E27FC236}">
                <a16:creationId xmlns:a16="http://schemas.microsoft.com/office/drawing/2014/main" id="{39839114-7C32-4687-B952-D656339911A8}"/>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3816812203"/>
              </p:ext>
            </p:extLst>
          </p:nvPr>
        </p:nvGraphicFramePr>
        <p:xfrm>
          <a:off x="1132114" y="1005250"/>
          <a:ext cx="9496356" cy="9195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Rectangle 15">
            <a:extLst>
              <a:ext uri="{FF2B5EF4-FFF2-40B4-BE49-F238E27FC236}">
                <a16:creationId xmlns:a16="http://schemas.microsoft.com/office/drawing/2014/main" id="{48CA3870-531C-444A-A757-1FE9B2BD7EC1}"/>
              </a:ext>
              <a:ext uri="{C183D7F6-B498-43B3-948B-1728B52AA6E4}">
                <adec:decorative xmlns:adec="http://schemas.microsoft.com/office/drawing/2017/decorative" val="1"/>
              </a:ext>
            </a:extLst>
          </p:cNvPr>
          <p:cNvSpPr/>
          <p:nvPr/>
        </p:nvSpPr>
        <p:spPr>
          <a:xfrm>
            <a:off x="357963" y="1407718"/>
            <a:ext cx="11476074" cy="4405022"/>
          </a:xfrm>
          <a:prstGeom prst="rect">
            <a:avLst/>
          </a:prstGeom>
          <a:solidFill>
            <a:schemeClr val="bg1"/>
          </a:solidFill>
          <a:ln w="5080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7" name="Straight Connector 16">
            <a:extLst>
              <a:ext uri="{FF2B5EF4-FFF2-40B4-BE49-F238E27FC236}">
                <a16:creationId xmlns:a16="http://schemas.microsoft.com/office/drawing/2014/main" id="{94A9D9C6-E99D-459B-A8D9-EB7638B975CF}"/>
              </a:ext>
              <a:ext uri="{C183D7F6-B498-43B3-948B-1728B52AA6E4}">
                <adec:decorative xmlns:adec="http://schemas.microsoft.com/office/drawing/2017/decorative" val="1"/>
              </a:ext>
            </a:extLst>
          </p:cNvPr>
          <p:cNvCxnSpPr>
            <a:cxnSpLocks/>
          </p:cNvCxnSpPr>
          <p:nvPr/>
        </p:nvCxnSpPr>
        <p:spPr>
          <a:xfrm>
            <a:off x="1132114" y="2315029"/>
            <a:ext cx="0" cy="2039257"/>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388832ED-AFD6-4F87-A0C2-8B5E7E9A20B0}"/>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0300747" y="153230"/>
            <a:ext cx="1533290" cy="753562"/>
          </a:xfrm>
          <a:prstGeom prst="rect">
            <a:avLst/>
          </a:prstGeom>
        </p:spPr>
      </p:pic>
      <p:sp>
        <p:nvSpPr>
          <p:cNvPr id="18" name="TextBox 17">
            <a:extLst>
              <a:ext uri="{FF2B5EF4-FFF2-40B4-BE49-F238E27FC236}">
                <a16:creationId xmlns:a16="http://schemas.microsoft.com/office/drawing/2014/main" id="{30ED243A-9892-4B52-B5FF-A1C9A4041EC3}"/>
              </a:ext>
            </a:extLst>
          </p:cNvPr>
          <p:cNvSpPr txBox="1"/>
          <p:nvPr/>
        </p:nvSpPr>
        <p:spPr>
          <a:xfrm>
            <a:off x="722205" y="2023294"/>
            <a:ext cx="5196588" cy="3647152"/>
          </a:xfrm>
          <a:prstGeom prst="rect">
            <a:avLst/>
          </a:prstGeom>
          <a:noFill/>
          <a:ln w="47625">
            <a:solidFill>
              <a:srgbClr val="F16038"/>
            </a:solidFill>
          </a:ln>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0D6CB9"/>
                </a:solidFill>
                <a:effectLst/>
                <a:uLnTx/>
                <a:uFillTx/>
                <a:latin typeface="Calibri" panose="020F0502020204030204"/>
                <a:ea typeface="+mn-ea"/>
                <a:cs typeface="+mn-cs"/>
              </a:rPr>
              <a:t>Designated supports that fall into this category are </a:t>
            </a:r>
            <a:r>
              <a:rPr kumimoji="0" lang="en-US" sz="2100" b="1" i="0" u="none" strike="noStrike" kern="1200" cap="none" spc="0" normalizeH="0" baseline="0" noProof="0">
                <a:ln>
                  <a:noFill/>
                </a:ln>
                <a:solidFill>
                  <a:srgbClr val="0D6CB9"/>
                </a:solidFill>
                <a:effectLst/>
                <a:uLnTx/>
                <a:uFillTx/>
                <a:latin typeface="Calibri" panose="020F0502020204030204"/>
                <a:ea typeface="+mn-ea"/>
                <a:cs typeface="+mn-cs"/>
              </a:rPr>
              <a:t>only</a:t>
            </a:r>
            <a:r>
              <a:rPr kumimoji="0" lang="en-US" sz="2100" b="0" i="0" u="none" strike="noStrike" kern="1200" cap="none" spc="0" normalizeH="0" baseline="0" noProof="0">
                <a:ln>
                  <a:noFill/>
                </a:ln>
                <a:solidFill>
                  <a:srgbClr val="0D6CB9"/>
                </a:solidFill>
                <a:effectLst/>
                <a:uLnTx/>
                <a:uFillTx/>
                <a:latin typeface="Calibri" panose="020F0502020204030204"/>
                <a:ea typeface="+mn-ea"/>
                <a:cs typeface="+mn-cs"/>
              </a:rPr>
              <a:t> for students who have unique needs that are not specifically addressed with any accessibility features or designated supports located on TEA’s Accommodation Resources webpage. These designated supports </a:t>
            </a:r>
            <a:r>
              <a:rPr kumimoji="0" lang="en-US" sz="2100" b="1" i="0" u="none" strike="noStrike" kern="1200" cap="none" spc="0" normalizeH="0" baseline="0" noProof="0">
                <a:ln>
                  <a:noFill/>
                </a:ln>
                <a:solidFill>
                  <a:srgbClr val="0D6CB9"/>
                </a:solidFill>
                <a:effectLst/>
                <a:uLnTx/>
                <a:uFillTx/>
                <a:latin typeface="Calibri" panose="020F0502020204030204"/>
                <a:ea typeface="+mn-ea"/>
                <a:cs typeface="+mn-cs"/>
              </a:rPr>
              <a:t>are not </a:t>
            </a:r>
            <a:r>
              <a:rPr kumimoji="0" lang="en-US" sz="2100" b="0" i="0" u="none" strike="noStrike" kern="1200" cap="none" spc="0" normalizeH="0" baseline="0" noProof="0">
                <a:ln>
                  <a:noFill/>
                </a:ln>
                <a:solidFill>
                  <a:srgbClr val="0D6CB9"/>
                </a:solidFill>
                <a:effectLst/>
                <a:uLnTx/>
                <a:uFillTx/>
                <a:latin typeface="Calibri" panose="020F0502020204030204"/>
                <a:ea typeface="+mn-ea"/>
                <a:cs typeface="+mn-cs"/>
              </a:rPr>
              <a:t>intended to provide additional supplemental aids not listed as allowable, or for students who fail to meet established eligibility criteria for designated supports.</a:t>
            </a:r>
          </a:p>
        </p:txBody>
      </p:sp>
      <p:sp>
        <p:nvSpPr>
          <p:cNvPr id="20" name="TextBox 19">
            <a:extLst>
              <a:ext uri="{FF2B5EF4-FFF2-40B4-BE49-F238E27FC236}">
                <a16:creationId xmlns:a16="http://schemas.microsoft.com/office/drawing/2014/main" id="{C5376112-8D13-434E-99C4-A20D27B3BF4D}"/>
              </a:ext>
            </a:extLst>
          </p:cNvPr>
          <p:cNvSpPr txBox="1"/>
          <p:nvPr/>
        </p:nvSpPr>
        <p:spPr>
          <a:xfrm>
            <a:off x="6273208" y="2023294"/>
            <a:ext cx="5279339" cy="3600986"/>
          </a:xfrm>
          <a:prstGeom prst="rect">
            <a:avLst/>
          </a:prstGeom>
          <a:solidFill>
            <a:schemeClr val="accent1">
              <a:lumMod val="20000"/>
              <a:lumOff val="80000"/>
            </a:schemeClr>
          </a:solid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Example: If a student requires double-sided test materials photocopied into single-sided sheets because they have a physical disability or have a disability that necessitates test materials be presented in a printed format other than a test booklet in order to prevent severe behaviors that could interfere with completion of the test, an ARF for Other should be submitted to TEA. </a:t>
            </a:r>
            <a:r>
              <a:rPr kumimoji="0" lang="en-US" sz="1900" b="1" i="0" u="none" strike="noStrike" kern="1200" cap="none" spc="0" normalizeH="0" baseline="0" noProof="0">
                <a:ln>
                  <a:noFill/>
                </a:ln>
                <a:solidFill>
                  <a:srgbClr val="0D6CB9"/>
                </a:solidFill>
                <a:effectLst/>
                <a:uLnTx/>
                <a:uFillTx/>
                <a:latin typeface="Calibri" panose="020F0502020204030204"/>
                <a:ea typeface="+mn-ea"/>
                <a:cs typeface="+mn-cs"/>
              </a:rPr>
              <a:t>These cases should be rare.</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1900" b="0" i="0" u="none" strike="noStrike" kern="1200" cap="none" spc="0" normalizeH="0" baseline="0" noProof="0">
                <a:ln>
                  <a:noFill/>
                </a:ln>
                <a:solidFill>
                  <a:srgbClr val="0D6CB9"/>
                </a:solidFill>
                <a:effectLst/>
                <a:uLnTx/>
                <a:uFillTx/>
                <a:latin typeface="Calibri" panose="020F0502020204030204"/>
                <a:ea typeface="+mn-ea"/>
                <a:cs typeface="+mn-cs"/>
              </a:rPr>
              <a:t>TEA may provide additional procedures specific to the requested designated support if approved.</a:t>
            </a:r>
          </a:p>
        </p:txBody>
      </p:sp>
      <p:pic>
        <p:nvPicPr>
          <p:cNvPr id="5" name="Graphic 4">
            <a:extLst>
              <a:ext uri="{FF2B5EF4-FFF2-40B4-BE49-F238E27FC236}">
                <a16:creationId xmlns:a16="http://schemas.microsoft.com/office/drawing/2014/main" id="{580FF37F-DFC6-444C-85A5-F5EA4C8E36FD}"/>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5499" y="1086621"/>
            <a:ext cx="721581" cy="721581"/>
          </a:xfrm>
          <a:prstGeom prst="rect">
            <a:avLst/>
          </a:prstGeom>
        </p:spPr>
      </p:pic>
      <p:sp>
        <p:nvSpPr>
          <p:cNvPr id="11" name="Slide Number Placeholder 10">
            <a:extLst>
              <a:ext uri="{FF2B5EF4-FFF2-40B4-BE49-F238E27FC236}">
                <a16:creationId xmlns:a16="http://schemas.microsoft.com/office/drawing/2014/main" id="{ED89FCCC-1AD8-4F0D-B068-78659DCB2F49}"/>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63320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C3F27-B47B-4D56-BEBD-91E9F93B2D7C}"/>
              </a:ext>
            </a:extLst>
          </p:cNvPr>
          <p:cNvSpPr>
            <a:spLocks noGrp="1"/>
          </p:cNvSpPr>
          <p:nvPr>
            <p:ph type="title"/>
          </p:nvPr>
        </p:nvSpPr>
        <p:spPr>
          <a:xfrm>
            <a:off x="627657" y="160204"/>
            <a:ext cx="11121657" cy="751350"/>
          </a:xfrm>
        </p:spPr>
        <p:txBody>
          <a:bodyPr>
            <a:normAutofit/>
          </a:bodyPr>
          <a:lstStyle/>
          <a:p>
            <a:r>
              <a:rPr lang="en-US" dirty="0"/>
              <a:t>Accommodation Request Process</a:t>
            </a:r>
          </a:p>
        </p:txBody>
      </p:sp>
      <p:sp>
        <p:nvSpPr>
          <p:cNvPr id="4" name="TextBox 3">
            <a:extLst>
              <a:ext uri="{FF2B5EF4-FFF2-40B4-BE49-F238E27FC236}">
                <a16:creationId xmlns:a16="http://schemas.microsoft.com/office/drawing/2014/main" id="{B1890CE3-8FE9-4AF8-936C-F67F9370FC13}"/>
              </a:ext>
            </a:extLst>
          </p:cNvPr>
          <p:cNvSpPr txBox="1"/>
          <p:nvPr/>
        </p:nvSpPr>
        <p:spPr>
          <a:xfrm>
            <a:off x="442686" y="797510"/>
            <a:ext cx="11280290" cy="513986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
                <a:srgbClr val="FF0000"/>
              </a:buClr>
              <a:buSzTx/>
              <a:buFontTx/>
              <a:buNone/>
              <a:tabLst/>
              <a:defRPr/>
            </a:pPr>
            <a:r>
              <a:rPr kumimoji="0" lang="en-US" sz="2400" b="1" i="0" u="none" strike="noStrike" kern="1200" cap="none" spc="0" normalizeH="0" baseline="0" noProof="0" dirty="0">
                <a:ln>
                  <a:noFill/>
                </a:ln>
                <a:solidFill>
                  <a:srgbClr val="0D6CB9"/>
                </a:solidFill>
                <a:effectLst/>
                <a:uLnTx/>
                <a:uFillTx/>
                <a:latin typeface="Calibri"/>
                <a:ea typeface="+mn-ea"/>
                <a:cs typeface="Calibri"/>
              </a:rPr>
              <a:t>Online Accommodation Requests</a:t>
            </a:r>
          </a:p>
          <a:p>
            <a:pPr marL="0" marR="0" lvl="0" indent="0" algn="ctr" defTabSz="914400" rtl="0" eaLnBrk="1" fontAlgn="auto" latinLnBrk="0" hangingPunct="1">
              <a:lnSpc>
                <a:spcPct val="100000"/>
              </a:lnSpc>
              <a:spcBef>
                <a:spcPts val="0"/>
              </a:spcBef>
              <a:spcAft>
                <a:spcPts val="0"/>
              </a:spcAft>
              <a:buClr>
                <a:srgbClr val="FF0000"/>
              </a:buClr>
              <a:buSzTx/>
              <a:buFontTx/>
              <a:buNone/>
              <a:tabLst/>
              <a:defRPr/>
            </a:pPr>
            <a:r>
              <a:rPr kumimoji="0" lang="en-US" sz="2400" b="1" i="0" u="none" strike="noStrike" kern="1200" cap="none" spc="0" normalizeH="0" baseline="0" noProof="0" dirty="0">
                <a:ln>
                  <a:noFill/>
                </a:ln>
                <a:solidFill>
                  <a:srgbClr val="0D6CB9"/>
                </a:solidFill>
                <a:effectLst/>
                <a:uLnTx/>
                <a:uFillTx/>
                <a:latin typeface="Calibri"/>
                <a:ea typeface="+mn-ea"/>
                <a:cs typeface="Calibri"/>
              </a:rPr>
              <a:t>should only be submitted for designated supports requiring TEA approval:</a:t>
            </a:r>
          </a:p>
          <a:p>
            <a:pPr marL="0" marR="0" lvl="0" indent="0" algn="l" defTabSz="914400" rtl="0" eaLnBrk="1" fontAlgn="auto" latinLnBrk="0" hangingPunct="1">
              <a:lnSpc>
                <a:spcPct val="100000"/>
              </a:lnSpc>
              <a:spcBef>
                <a:spcPts val="0"/>
              </a:spcBef>
              <a:spcAft>
                <a:spcPts val="0"/>
              </a:spcAft>
              <a:buClr>
                <a:srgbClr val="FF0000"/>
              </a:buClr>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
                <a:srgbClr val="FF0000"/>
              </a:buClr>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
                <a:srgbClr val="FF0000"/>
              </a:buClr>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Calibri"/>
            </a:endParaRPr>
          </a:p>
          <a:p>
            <a:pPr marL="457200" marR="0" lvl="1" indent="0" algn="l" defTabSz="914400" rtl="0" eaLnBrk="1" fontAlgn="auto" latinLnBrk="0" hangingPunct="1">
              <a:lnSpc>
                <a:spcPct val="100000"/>
              </a:lnSpc>
              <a:spcBef>
                <a:spcPts val="0"/>
              </a:spcBef>
              <a:spcAft>
                <a:spcPts val="0"/>
              </a:spcAft>
              <a:buClr>
                <a:srgbClr val="FF0000"/>
              </a:buClr>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charset="0"/>
              <a:ea typeface="+mn-ea"/>
              <a:cs typeface="Calibri" charset="0"/>
            </a:endParaRPr>
          </a:p>
          <a:p>
            <a:pPr marL="457200" marR="0" lvl="1" indent="0" algn="l" defTabSz="914400" rtl="0" eaLnBrk="1" fontAlgn="auto" latinLnBrk="0" hangingPunct="1">
              <a:lnSpc>
                <a:spcPct val="100000"/>
              </a:lnSpc>
              <a:spcBef>
                <a:spcPts val="0"/>
              </a:spcBef>
              <a:spcAft>
                <a:spcPts val="0"/>
              </a:spcAft>
              <a:buClr>
                <a:srgbClr val="FF0000"/>
              </a:buClr>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charset="0"/>
              <a:ea typeface="+mn-ea"/>
              <a:cs typeface="Calibri" charset="0"/>
            </a:endParaRPr>
          </a:p>
          <a:p>
            <a:pPr marL="800100" marR="0" lvl="1"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0D6CB9"/>
                </a:solidFill>
                <a:effectLst/>
                <a:uLnTx/>
                <a:uFillTx/>
                <a:latin typeface="Calibri"/>
                <a:ea typeface="+mn-ea"/>
                <a:cs typeface="Calibri"/>
              </a:rPr>
              <a:t>The request is submitted in TIDE.</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endParaRPr kumimoji="0" lang="en-US" sz="2000" b="0" i="0" u="none" strike="noStrike" kern="1200" cap="none" spc="0" normalizeH="0" baseline="0" noProof="0" dirty="0">
              <a:ln>
                <a:noFill/>
              </a:ln>
              <a:solidFill>
                <a:srgbClr val="0D6CB9"/>
              </a:solidFill>
              <a:effectLst/>
              <a:uLnTx/>
              <a:uFillTx/>
              <a:latin typeface="Calibri"/>
              <a:ea typeface="+mn-ea"/>
              <a:cs typeface="Calibri"/>
            </a:endParaRPr>
          </a:p>
          <a:p>
            <a:pPr marL="800100" marR="0" lvl="1"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0D6CB9"/>
                </a:solidFill>
                <a:effectLst/>
                <a:uLnTx/>
                <a:uFillTx/>
                <a:latin typeface="Calibri"/>
                <a:ea typeface="+mn-ea"/>
                <a:cs typeface="Calibri"/>
              </a:rPr>
              <a:t>Opens: October 2023</a:t>
            </a:r>
          </a:p>
          <a:p>
            <a:pPr marL="342900" marR="0" lvl="0"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endParaRPr kumimoji="0" lang="en-US" sz="2000" b="0" i="0" u="none" strike="noStrike" kern="1200" cap="none" spc="0" normalizeH="0" baseline="0" noProof="0" dirty="0">
              <a:ln>
                <a:noFill/>
              </a:ln>
              <a:solidFill>
                <a:srgbClr val="0D6CB9"/>
              </a:solidFill>
              <a:effectLst/>
              <a:uLnTx/>
              <a:uFillTx/>
              <a:latin typeface="Calibri" charset="0"/>
              <a:ea typeface="+mn-ea"/>
              <a:cs typeface="Calibri" charset="0"/>
            </a:endParaRPr>
          </a:p>
          <a:p>
            <a:pPr marL="800100" marR="0" lvl="1"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0D6CB9"/>
                </a:solidFill>
                <a:effectLst/>
                <a:uLnTx/>
                <a:uFillTx/>
                <a:latin typeface="Calibri"/>
                <a:ea typeface="+mn-ea"/>
                <a:cs typeface="Calibri"/>
              </a:rPr>
              <a:t>Expiration date of approved requests is the day the last test is administered for the academic year or by June 30, 2024.</a:t>
            </a:r>
          </a:p>
          <a:p>
            <a:pPr marL="800100" marR="0" lvl="1"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endParaRPr kumimoji="0" lang="en-US" sz="2000" b="0" i="0" u="none" strike="noStrike" kern="1200" cap="none" spc="0" normalizeH="0" baseline="0" noProof="0" dirty="0">
              <a:ln>
                <a:noFill/>
              </a:ln>
              <a:solidFill>
                <a:srgbClr val="0D6CB9"/>
              </a:solidFill>
              <a:effectLst/>
              <a:highlight>
                <a:srgbClr val="FF0000"/>
              </a:highlight>
              <a:uLnTx/>
              <a:uFillTx/>
              <a:latin typeface="Calibri"/>
              <a:ea typeface="+mn-ea"/>
              <a:cs typeface="Calibri"/>
            </a:endParaRPr>
          </a:p>
          <a:p>
            <a:pPr marL="800100" marR="0" lvl="1" indent="-3429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000" b="0" i="0" u="none" strike="noStrike" kern="1200" cap="none" spc="0" normalizeH="0" baseline="0" noProof="0" dirty="0">
                <a:ln>
                  <a:noFill/>
                </a:ln>
                <a:solidFill>
                  <a:srgbClr val="0D6CB9"/>
                </a:solidFill>
                <a:effectLst/>
                <a:uLnTx/>
                <a:uFillTx/>
                <a:latin typeface="Calibri"/>
                <a:ea typeface="+mn-ea"/>
                <a:cs typeface="Calibri"/>
              </a:rPr>
              <a:t>Each district is assigned an “Accommodations Task Force Member” who will process requests.</a:t>
            </a:r>
          </a:p>
        </p:txBody>
      </p:sp>
      <p:pic>
        <p:nvPicPr>
          <p:cNvPr id="6" name="Picture 5">
            <a:extLst>
              <a:ext uri="{FF2B5EF4-FFF2-40B4-BE49-F238E27FC236}">
                <a16:creationId xmlns:a16="http://schemas.microsoft.com/office/drawing/2014/main" id="{68A8798D-41D6-49DE-B3D3-A4718C6D92C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836484" y="1754390"/>
            <a:ext cx="8302156" cy="1282949"/>
          </a:xfrm>
          <a:prstGeom prst="rect">
            <a:avLst/>
          </a:prstGeom>
        </p:spPr>
      </p:pic>
      <p:pic>
        <p:nvPicPr>
          <p:cNvPr id="5" name="Graphic 4">
            <a:extLst>
              <a:ext uri="{FF2B5EF4-FFF2-40B4-BE49-F238E27FC236}">
                <a16:creationId xmlns:a16="http://schemas.microsoft.com/office/drawing/2014/main" id="{19B03096-9829-47B4-BF30-8681EB14755B}"/>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00495" y="1712294"/>
            <a:ext cx="425195" cy="425195"/>
          </a:xfrm>
          <a:prstGeom prst="rect">
            <a:avLst/>
          </a:prstGeom>
        </p:spPr>
      </p:pic>
      <p:pic>
        <p:nvPicPr>
          <p:cNvPr id="9" name="Graphic 8">
            <a:extLst>
              <a:ext uri="{FF2B5EF4-FFF2-40B4-BE49-F238E27FC236}">
                <a16:creationId xmlns:a16="http://schemas.microsoft.com/office/drawing/2014/main" id="{2ABB1D54-6567-4B01-81CD-D21D3A3CD146}"/>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17773" y="1754390"/>
            <a:ext cx="415356" cy="415356"/>
          </a:xfrm>
          <a:prstGeom prst="rect">
            <a:avLst/>
          </a:prstGeom>
        </p:spPr>
      </p:pic>
      <p:pic>
        <p:nvPicPr>
          <p:cNvPr id="11" name="Graphic 10">
            <a:extLst>
              <a:ext uri="{FF2B5EF4-FFF2-40B4-BE49-F238E27FC236}">
                <a16:creationId xmlns:a16="http://schemas.microsoft.com/office/drawing/2014/main" id="{8AA2C6D0-FA41-43AA-872F-E5497C50E4E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46273" y="2562197"/>
            <a:ext cx="425195" cy="425195"/>
          </a:xfrm>
          <a:prstGeom prst="rect">
            <a:avLst/>
          </a:prstGeom>
        </p:spPr>
      </p:pic>
      <p:pic>
        <p:nvPicPr>
          <p:cNvPr id="13" name="Graphic 12">
            <a:extLst>
              <a:ext uri="{FF2B5EF4-FFF2-40B4-BE49-F238E27FC236}">
                <a16:creationId xmlns:a16="http://schemas.microsoft.com/office/drawing/2014/main" id="{A7656819-A3F4-4A82-A684-EC0A151F8D1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826996" y="2586706"/>
            <a:ext cx="423992" cy="423992"/>
          </a:xfrm>
          <a:prstGeom prst="rect">
            <a:avLst/>
          </a:prstGeom>
        </p:spPr>
      </p:pic>
      <p:sp>
        <p:nvSpPr>
          <p:cNvPr id="10" name="Slide Number Placeholder 9">
            <a:extLst>
              <a:ext uri="{FF2B5EF4-FFF2-40B4-BE49-F238E27FC236}">
                <a16:creationId xmlns:a16="http://schemas.microsoft.com/office/drawing/2014/main" id="{E3DCBC7A-DCF2-41AF-A2DD-DD5284F3DC51}"/>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2675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C3F27-B47B-4D56-BEBD-91E9F93B2D7C}"/>
              </a:ext>
            </a:extLst>
          </p:cNvPr>
          <p:cNvSpPr>
            <a:spLocks noGrp="1"/>
          </p:cNvSpPr>
          <p:nvPr>
            <p:ph type="title"/>
          </p:nvPr>
        </p:nvSpPr>
        <p:spPr>
          <a:xfrm>
            <a:off x="627657" y="160204"/>
            <a:ext cx="11121657" cy="751350"/>
          </a:xfrm>
        </p:spPr>
        <p:txBody>
          <a:bodyPr>
            <a:normAutofit/>
          </a:bodyPr>
          <a:lstStyle/>
          <a:p>
            <a:r>
              <a:rPr lang="en-US" dirty="0"/>
              <a:t>Accommodation Request Process</a:t>
            </a:r>
          </a:p>
        </p:txBody>
      </p:sp>
      <p:sp>
        <p:nvSpPr>
          <p:cNvPr id="15" name="TextBox 14">
            <a:extLst>
              <a:ext uri="{FF2B5EF4-FFF2-40B4-BE49-F238E27FC236}">
                <a16:creationId xmlns:a16="http://schemas.microsoft.com/office/drawing/2014/main" id="{4DA5003E-F527-4EDA-A51C-0F6675F2A3CE}"/>
              </a:ext>
            </a:extLst>
          </p:cNvPr>
          <p:cNvSpPr txBox="1"/>
          <p:nvPr/>
        </p:nvSpPr>
        <p:spPr>
          <a:xfrm>
            <a:off x="627657" y="807449"/>
            <a:ext cx="10788383" cy="47089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Accommodation Requests must be submitted to the Texas Education Agency (TEA) in a timely manner to allow committee members the ability to process and review requests, as well as communicate to districts the appropriate procedures for administering a TEA-Approved Designated Suppor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Requests should be submitted no later than one week prior to the individual student’s test administration window. For circumstances that require an accommodation request but occur after this time (e.g., newly enrolled student, medical emergency, updated admission, review, and dismissal (ARD) committee decision) the district testing coordinator should contact TEA’s Student Assessment Division at 512-463-9536 and ask to speak to their assigned member of the Accommodation Task Force for further instructions.</a:t>
            </a:r>
          </a:p>
        </p:txBody>
      </p:sp>
      <p:pic>
        <p:nvPicPr>
          <p:cNvPr id="6" name="Picture 7">
            <a:extLst>
              <a:ext uri="{FF2B5EF4-FFF2-40B4-BE49-F238E27FC236}">
                <a16:creationId xmlns:a16="http://schemas.microsoft.com/office/drawing/2014/main" id="{1A27325D-3094-4833-A552-54624D24ED6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003445" y="1945230"/>
            <a:ext cx="8185110" cy="1483770"/>
          </a:xfrm>
          <a:prstGeom prst="rect">
            <a:avLst/>
          </a:prstGeom>
        </p:spPr>
      </p:pic>
      <p:sp>
        <p:nvSpPr>
          <p:cNvPr id="7" name="Slide Number Placeholder 6">
            <a:extLst>
              <a:ext uri="{FF2B5EF4-FFF2-40B4-BE49-F238E27FC236}">
                <a16:creationId xmlns:a16="http://schemas.microsoft.com/office/drawing/2014/main" id="{879074E8-2455-45A7-BF64-271D50CDAC0F}"/>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26545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descr="Checkbox Checked">
            <a:extLst>
              <a:ext uri="{FF2B5EF4-FFF2-40B4-BE49-F238E27FC236}">
                <a16:creationId xmlns:a16="http://schemas.microsoft.com/office/drawing/2014/main" id="{5E2195CA-E736-4EB1-9392-3F3377D202C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14052" y="1697181"/>
            <a:ext cx="3463637" cy="3463637"/>
          </a:xfrm>
          <a:prstGeom prst="rect">
            <a:avLst/>
          </a:prstGeom>
        </p:spPr>
      </p:pic>
      <p:sp>
        <p:nvSpPr>
          <p:cNvPr id="2" name="Title 1">
            <a:extLst>
              <a:ext uri="{FF2B5EF4-FFF2-40B4-BE49-F238E27FC236}">
                <a16:creationId xmlns:a16="http://schemas.microsoft.com/office/drawing/2014/main" id="{FBCA82C4-3E2B-48CB-A0FD-A55F222EFEF8}"/>
              </a:ext>
            </a:extLst>
          </p:cNvPr>
          <p:cNvSpPr>
            <a:spLocks noGrp="1"/>
          </p:cNvSpPr>
          <p:nvPr>
            <p:ph type="title"/>
          </p:nvPr>
        </p:nvSpPr>
        <p:spPr/>
        <p:txBody>
          <a:bodyPr/>
          <a:lstStyle/>
          <a:p>
            <a:r>
              <a:rPr lang="en-US"/>
              <a:t>Accommodation Request Process</a:t>
            </a:r>
          </a:p>
        </p:txBody>
      </p:sp>
      <p:sp>
        <p:nvSpPr>
          <p:cNvPr id="3" name="Content Placeholder 2">
            <a:extLst>
              <a:ext uri="{FF2B5EF4-FFF2-40B4-BE49-F238E27FC236}">
                <a16:creationId xmlns:a16="http://schemas.microsoft.com/office/drawing/2014/main" id="{F7516B20-BB6E-4604-84FE-44AC3203E554}"/>
              </a:ext>
              <a:ext uri="{C183D7F6-B498-43B3-948B-1728B52AA6E4}">
                <adec:decorative xmlns:adec="http://schemas.microsoft.com/office/drawing/2017/decorative" val="1"/>
              </a:ext>
            </a:extLst>
          </p:cNvPr>
          <p:cNvSpPr>
            <a:spLocks noGrp="1"/>
          </p:cNvSpPr>
          <p:nvPr>
            <p:ph idx="1"/>
          </p:nvPr>
        </p:nvSpPr>
        <p:spPr>
          <a:xfrm>
            <a:off x="712380" y="1323860"/>
            <a:ext cx="5224293" cy="4332120"/>
          </a:xfrm>
          <a:ln w="15875">
            <a:solidFill>
              <a:schemeClr val="tx1"/>
            </a:solidFill>
          </a:ln>
        </p:spPr>
        <p:txBody>
          <a:bodyPr anchor="ctr"/>
          <a:lstStyle/>
          <a:p>
            <a:pPr marL="0" indent="0">
              <a:buNone/>
            </a:pPr>
            <a:endParaRPr lang="en-US" sz="2000" b="0">
              <a:solidFill>
                <a:prstClr val="black"/>
              </a:solidFill>
              <a:latin typeface="Calibri" panose="020F0502020204030204" pitchFamily="34" charset="0"/>
              <a:cs typeface="Calibri" panose="020F0502020204030204" pitchFamily="34" charset="0"/>
            </a:endParaRPr>
          </a:p>
          <a:p>
            <a:pPr marL="0" indent="0">
              <a:buNone/>
            </a:pPr>
            <a:endParaRPr lang="en-US" sz="2000">
              <a:solidFill>
                <a:srgbClr val="0D6CB9"/>
              </a:solidFill>
              <a:latin typeface="Calibri" panose="020F0502020204030204" pitchFamily="34" charset="0"/>
              <a:cs typeface="Calibri" panose="020F0502020204030204" pitchFamily="34" charset="0"/>
            </a:endParaRPr>
          </a:p>
          <a:p>
            <a:pPr marL="0" indent="0">
              <a:buNone/>
            </a:pPr>
            <a:r>
              <a:rPr lang="en-US" b="0">
                <a:solidFill>
                  <a:srgbClr val="0D6CB9"/>
                </a:solidFill>
                <a:latin typeface="Calibri" panose="020F0502020204030204" pitchFamily="34" charset="0"/>
                <a:cs typeface="Calibri" panose="020F0502020204030204" pitchFamily="34" charset="0"/>
              </a:rPr>
              <a:t>Accommodation requests must be approved by the TEA before a student can use the accommodation on a state assessment.</a:t>
            </a:r>
          </a:p>
          <a:p>
            <a:pPr marL="0" indent="0">
              <a:buNone/>
            </a:pPr>
            <a:endParaRPr lang="en-US">
              <a:solidFill>
                <a:srgbClr val="0D6CB9"/>
              </a:solidFill>
              <a:latin typeface="Calibri" panose="020F0502020204030204" pitchFamily="34" charset="0"/>
              <a:cs typeface="Calibri" panose="020F0502020204030204" pitchFamily="34" charset="0"/>
            </a:endParaRPr>
          </a:p>
          <a:p>
            <a:pPr marL="0" indent="0">
              <a:buNone/>
            </a:pPr>
            <a:r>
              <a:rPr lang="en-US" b="0">
                <a:solidFill>
                  <a:srgbClr val="0D6CB9"/>
                </a:solidFill>
                <a:latin typeface="Calibri" panose="020F0502020204030204" pitchFamily="34" charset="0"/>
                <a:cs typeface="Calibri" panose="020F0502020204030204" pitchFamily="34" charset="0"/>
              </a:rPr>
              <a:t>Documentation in the appropriate paperwork should state “pending TEA approval.”</a:t>
            </a:r>
            <a:br>
              <a:rPr lang="en-US" sz="3200" b="0">
                <a:solidFill>
                  <a:prstClr val="black"/>
                </a:solidFill>
                <a:latin typeface="Open Sans (Headings)"/>
              </a:rPr>
            </a:br>
            <a:endParaRPr lang="en-US" sz="3200" b="0">
              <a:solidFill>
                <a:prstClr val="black"/>
              </a:solidFill>
              <a:latin typeface="Open Sans (Headings)"/>
            </a:endParaRPr>
          </a:p>
          <a:p>
            <a:endParaRPr lang="en-US"/>
          </a:p>
        </p:txBody>
      </p:sp>
      <p:sp>
        <p:nvSpPr>
          <p:cNvPr id="4" name="Content Placeholder 3">
            <a:extLst>
              <a:ext uri="{FF2B5EF4-FFF2-40B4-BE49-F238E27FC236}">
                <a16:creationId xmlns:a16="http://schemas.microsoft.com/office/drawing/2014/main" id="{354B2DB5-1B52-4379-AC46-0CD055841780}"/>
              </a:ext>
              <a:ext uri="{C183D7F6-B498-43B3-948B-1728B52AA6E4}">
                <adec:decorative xmlns:adec="http://schemas.microsoft.com/office/drawing/2017/decorative" val="1"/>
              </a:ext>
            </a:extLst>
          </p:cNvPr>
          <p:cNvSpPr>
            <a:spLocks noGrp="1"/>
          </p:cNvSpPr>
          <p:nvPr>
            <p:ph idx="13"/>
          </p:nvPr>
        </p:nvSpPr>
        <p:spPr>
          <a:xfrm>
            <a:off x="6206836" y="1304642"/>
            <a:ext cx="5627201" cy="4351338"/>
          </a:xfrm>
          <a:solidFill>
            <a:schemeClr val="bg2"/>
          </a:solidFill>
        </p:spPr>
        <p:txBody>
          <a:bodyPr anchor="ctr"/>
          <a:lstStyle/>
          <a:p>
            <a:pPr marL="0" indent="0">
              <a:spcBef>
                <a:spcPct val="20000"/>
              </a:spcBef>
              <a:buClr>
                <a:srgbClr val="DA3E26"/>
              </a:buClr>
              <a:buNone/>
            </a:pPr>
            <a:endParaRPr lang="en-US" b="0">
              <a:solidFill>
                <a:srgbClr val="0D6CB9"/>
              </a:solidFill>
            </a:endParaRPr>
          </a:p>
          <a:p>
            <a:pPr marL="0" indent="0">
              <a:spcBef>
                <a:spcPct val="20000"/>
              </a:spcBef>
              <a:buClr>
                <a:srgbClr val="DA3E26"/>
              </a:buClr>
              <a:buNone/>
            </a:pPr>
            <a:r>
              <a:rPr lang="en-US" b="0">
                <a:solidFill>
                  <a:srgbClr val="0D6CB9"/>
                </a:solidFill>
              </a:rPr>
              <a:t>Do </a:t>
            </a:r>
            <a:r>
              <a:rPr lang="en-US">
                <a:solidFill>
                  <a:srgbClr val="0D6CB9"/>
                </a:solidFill>
              </a:rPr>
              <a:t>NOT</a:t>
            </a:r>
            <a:r>
              <a:rPr lang="en-US" b="0">
                <a:solidFill>
                  <a:srgbClr val="0D6CB9"/>
                </a:solidFill>
              </a:rPr>
              <a:t> include confidential student information in the rationale. </a:t>
            </a:r>
            <a:r>
              <a:rPr lang="en-US">
                <a:solidFill>
                  <a:srgbClr val="0D6CB9"/>
                </a:solidFill>
              </a:rPr>
              <a:t>The </a:t>
            </a:r>
            <a:r>
              <a:rPr lang="en-US" b="0">
                <a:solidFill>
                  <a:srgbClr val="0D6CB9"/>
                </a:solidFill>
              </a:rPr>
              <a:t>request will be deleted, and you will be asked to resubmit</a:t>
            </a:r>
            <a:r>
              <a:rPr lang="en-US">
                <a:solidFill>
                  <a:srgbClr val="0D6CB9"/>
                </a:solidFill>
              </a:rPr>
              <a:t>.</a:t>
            </a:r>
            <a:endParaRPr lang="en-US" b="0">
              <a:solidFill>
                <a:srgbClr val="0D6CB9"/>
              </a:solidFill>
            </a:endParaRPr>
          </a:p>
          <a:p>
            <a:pPr marL="0" indent="0">
              <a:spcBef>
                <a:spcPct val="20000"/>
              </a:spcBef>
              <a:buClr>
                <a:srgbClr val="DA3E26"/>
              </a:buClr>
              <a:buNone/>
            </a:pPr>
            <a:endParaRPr lang="en-US">
              <a:solidFill>
                <a:srgbClr val="0D6CB9"/>
              </a:solidFill>
            </a:endParaRPr>
          </a:p>
          <a:p>
            <a:pPr marL="0" indent="0">
              <a:spcBef>
                <a:spcPct val="20000"/>
              </a:spcBef>
              <a:buClr>
                <a:srgbClr val="DA3E26"/>
              </a:buClr>
              <a:buNone/>
            </a:pPr>
            <a:endParaRPr lang="en-US">
              <a:solidFill>
                <a:srgbClr val="0D6CB9"/>
              </a:solidFill>
            </a:endParaRPr>
          </a:p>
          <a:p>
            <a:pPr marL="0" indent="0">
              <a:spcBef>
                <a:spcPct val="20000"/>
              </a:spcBef>
              <a:buClr>
                <a:srgbClr val="DA3E26"/>
              </a:buClr>
              <a:buNone/>
            </a:pPr>
            <a:r>
              <a:rPr lang="en-US">
                <a:solidFill>
                  <a:srgbClr val="0D6CB9"/>
                </a:solidFill>
              </a:rPr>
              <a:t>Example: student’s first and last name, language from an IEP, medical documents</a:t>
            </a:r>
          </a:p>
          <a:p>
            <a:pPr marL="0" indent="0">
              <a:buNone/>
            </a:pPr>
            <a:endParaRPr lang="en-US"/>
          </a:p>
        </p:txBody>
      </p:sp>
      <p:pic>
        <p:nvPicPr>
          <p:cNvPr id="8" name="Graphic 7" descr="No sign">
            <a:extLst>
              <a:ext uri="{FF2B5EF4-FFF2-40B4-BE49-F238E27FC236}">
                <a16:creationId xmlns:a16="http://schemas.microsoft.com/office/drawing/2014/main" id="{AE111717-E889-4441-AD19-7C85E176D5A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33417" y="2341980"/>
            <a:ext cx="2174037" cy="2174037"/>
          </a:xfrm>
          <a:prstGeom prst="rect">
            <a:avLst/>
          </a:prstGeom>
        </p:spPr>
      </p:pic>
      <p:sp>
        <p:nvSpPr>
          <p:cNvPr id="9" name="Slide Number Placeholder 8">
            <a:extLst>
              <a:ext uri="{FF2B5EF4-FFF2-40B4-BE49-F238E27FC236}">
                <a16:creationId xmlns:a16="http://schemas.microsoft.com/office/drawing/2014/main" id="{A628239C-4D60-4726-AA97-5F331D3BC0A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54005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66738-583B-47B5-894C-7046681AF747}"/>
              </a:ext>
            </a:extLst>
          </p:cNvPr>
          <p:cNvSpPr>
            <a:spLocks noGrp="1"/>
          </p:cNvSpPr>
          <p:nvPr>
            <p:ph type="title"/>
          </p:nvPr>
        </p:nvSpPr>
        <p:spPr/>
        <p:txBody>
          <a:bodyPr/>
          <a:lstStyle/>
          <a:p>
            <a:r>
              <a:rPr lang="en-US" dirty="0"/>
              <a:t>Accommodations in Unexpected or Emergency Situations</a:t>
            </a:r>
          </a:p>
        </p:txBody>
      </p:sp>
      <p:sp>
        <p:nvSpPr>
          <p:cNvPr id="14" name="TextBox 13">
            <a:extLst>
              <a:ext uri="{FF2B5EF4-FFF2-40B4-BE49-F238E27FC236}">
                <a16:creationId xmlns:a16="http://schemas.microsoft.com/office/drawing/2014/main" id="{61DCF45E-C325-4DB0-957B-8D69D14FF26D}"/>
              </a:ext>
            </a:extLst>
          </p:cNvPr>
          <p:cNvSpPr txBox="1"/>
          <p:nvPr/>
        </p:nvSpPr>
        <p:spPr>
          <a:xfrm>
            <a:off x="752815" y="904580"/>
            <a:ext cx="11121657" cy="47089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EA0C0C"/>
              </a:buClr>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When an unexpected or emergency situation (e.g., broken arm, lost eyeglasses) occurs just prior to or on the day of the state assessment, it may or may not be necessary to contact TEA. After testing, document the accommodation used in TIDE. </a:t>
            </a:r>
          </a:p>
          <a:p>
            <a:pPr marL="0" marR="0" lvl="0" indent="0" algn="l" defTabSz="914400" rtl="0" eaLnBrk="1" fontAlgn="auto" latinLnBrk="0" hangingPunct="1">
              <a:lnSpc>
                <a:spcPct val="100000"/>
              </a:lnSpc>
              <a:spcBef>
                <a:spcPts val="0"/>
              </a:spcBef>
              <a:spcAft>
                <a:spcPts val="0"/>
              </a:spcAft>
              <a:buClr>
                <a:srgbClr val="EA0C0C"/>
              </a:buClr>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EA0C0C"/>
              </a:buClr>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Step 1: </a:t>
            </a: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No need to contact TEA</a:t>
            </a:r>
          </a:p>
          <a:p>
            <a:pPr marL="0" marR="0" lvl="0" indent="0" algn="l" defTabSz="914400" rtl="0" eaLnBrk="1" fontAlgn="auto" latinLnBrk="0" hangingPunct="1">
              <a:lnSpc>
                <a:spcPct val="100000"/>
              </a:lnSpc>
              <a:spcBef>
                <a:spcPts val="0"/>
              </a:spcBef>
              <a:spcAft>
                <a:spcPts val="0"/>
              </a:spcAft>
              <a:buClr>
                <a:srgbClr val="EA0C0C"/>
              </a:buClr>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Make available Accessibility Features which are allowed for any student. </a:t>
            </a:r>
          </a:p>
          <a:p>
            <a:pPr marL="0" marR="0" lvl="0" indent="0" algn="l" defTabSz="914400" rtl="0" eaLnBrk="1" fontAlgn="auto" latinLnBrk="0" hangingPunct="1">
              <a:lnSpc>
                <a:spcPct val="100000"/>
              </a:lnSpc>
              <a:spcBef>
                <a:spcPts val="0"/>
              </a:spcBef>
              <a:spcAft>
                <a:spcPts val="0"/>
              </a:spcAft>
              <a:buClr>
                <a:srgbClr val="EA0C0C"/>
              </a:buClr>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EA0C0C"/>
              </a:buClr>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Step 2:</a:t>
            </a: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 No need to contact TEA</a:t>
            </a:r>
          </a:p>
          <a:p>
            <a:pPr marL="0" marR="0" lvl="0" indent="0" algn="l" defTabSz="914400" rtl="0" eaLnBrk="1" fontAlgn="auto" latinLnBrk="0" hangingPunct="1">
              <a:lnSpc>
                <a:spcPct val="100000"/>
              </a:lnSpc>
              <a:spcBef>
                <a:spcPts val="0"/>
              </a:spcBef>
              <a:spcAft>
                <a:spcPts val="0"/>
              </a:spcAft>
              <a:buClr>
                <a:srgbClr val="EA0C0C"/>
              </a:buClr>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	Make available locally-approved Designated Supports. Consideration should be given to 	accommodations that the student can independently use.</a:t>
            </a:r>
          </a:p>
          <a:p>
            <a:pPr marL="0" marR="0" lvl="0" indent="0" algn="l" defTabSz="914400" rtl="0" eaLnBrk="1" fontAlgn="auto" latinLnBrk="0" hangingPunct="1">
              <a:lnSpc>
                <a:spcPct val="100000"/>
              </a:lnSpc>
              <a:spcBef>
                <a:spcPts val="0"/>
              </a:spcBef>
              <a:spcAft>
                <a:spcPts val="0"/>
              </a:spcAft>
              <a:buClr>
                <a:srgbClr val="EA0C0C"/>
              </a:buClr>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EA0C0C"/>
              </a:buClr>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Step 3: </a:t>
            </a: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Contact TEA</a:t>
            </a:r>
          </a:p>
          <a:p>
            <a:pPr marL="0" marR="0" lvl="0" indent="0" algn="l" defTabSz="914400" rtl="0" eaLnBrk="1" fontAlgn="auto" latinLnBrk="0" hangingPunct="1">
              <a:lnSpc>
                <a:spcPct val="100000"/>
              </a:lnSpc>
              <a:spcBef>
                <a:spcPts val="0"/>
              </a:spcBef>
              <a:spcAft>
                <a:spcPts val="0"/>
              </a:spcAft>
              <a:buClr>
                <a:srgbClr val="EA0C0C"/>
              </a:buClr>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		If the student’s needs cannot be met with Step 1 or 2, contact a member of the 			Accommodations Task Force at TEA. The district testing coordinator may need to 		submit an Accommodation Request. </a:t>
            </a:r>
          </a:p>
        </p:txBody>
      </p:sp>
      <p:sp>
        <p:nvSpPr>
          <p:cNvPr id="4" name="Arrow: Bent 3">
            <a:extLst>
              <a:ext uri="{FF2B5EF4-FFF2-40B4-BE49-F238E27FC236}">
                <a16:creationId xmlns:a16="http://schemas.microsoft.com/office/drawing/2014/main" id="{71207FEC-87AD-419E-9A63-77BEBF2A6FAB}"/>
              </a:ext>
              <a:ext uri="{C183D7F6-B498-43B3-948B-1728B52AA6E4}">
                <adec:decorative xmlns:adec="http://schemas.microsoft.com/office/drawing/2017/decorative" val="1"/>
              </a:ext>
            </a:extLst>
          </p:cNvPr>
          <p:cNvSpPr/>
          <p:nvPr/>
        </p:nvSpPr>
        <p:spPr>
          <a:xfrm rot="10800000" flipH="1">
            <a:off x="883786" y="2825435"/>
            <a:ext cx="852055" cy="816077"/>
          </a:xfrm>
          <a:prstGeom prst="bentArrow">
            <a:avLst>
              <a:gd name="adj1" fmla="val 20652"/>
              <a:gd name="adj2" fmla="val 25544"/>
              <a:gd name="adj3" fmla="val 29348"/>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Bent 4">
            <a:extLst>
              <a:ext uri="{FF2B5EF4-FFF2-40B4-BE49-F238E27FC236}">
                <a16:creationId xmlns:a16="http://schemas.microsoft.com/office/drawing/2014/main" id="{55F4B6DB-C3CE-49D8-9FFC-949BE734E026}"/>
              </a:ext>
              <a:ext uri="{C183D7F6-B498-43B3-948B-1728B52AA6E4}">
                <adec:decorative xmlns:adec="http://schemas.microsoft.com/office/drawing/2017/decorative" val="1"/>
              </a:ext>
            </a:extLst>
          </p:cNvPr>
          <p:cNvSpPr/>
          <p:nvPr/>
        </p:nvSpPr>
        <p:spPr>
          <a:xfrm rot="10800000" flipH="1">
            <a:off x="1798186" y="4021393"/>
            <a:ext cx="852055" cy="816077"/>
          </a:xfrm>
          <a:prstGeom prst="bentArrow">
            <a:avLst>
              <a:gd name="adj1" fmla="val 20652"/>
              <a:gd name="adj2" fmla="val 25544"/>
              <a:gd name="adj3" fmla="val 29348"/>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4465AC1D-A830-413A-AF43-111D6AAE3F20}"/>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43786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66738-583B-47B5-894C-7046681AF747}"/>
              </a:ext>
            </a:extLst>
          </p:cNvPr>
          <p:cNvSpPr>
            <a:spLocks noGrp="1"/>
          </p:cNvSpPr>
          <p:nvPr>
            <p:ph type="title"/>
          </p:nvPr>
        </p:nvSpPr>
        <p:spPr>
          <a:xfrm>
            <a:off x="712380" y="277920"/>
            <a:ext cx="11121657" cy="751350"/>
          </a:xfrm>
        </p:spPr>
        <p:txBody>
          <a:bodyPr>
            <a:normAutofit fontScale="90000"/>
          </a:bodyPr>
          <a:lstStyle/>
          <a:p>
            <a:r>
              <a:rPr lang="en-US" sz="4000" dirty="0"/>
              <a:t>Online Practice and Released Tests</a:t>
            </a:r>
            <a:br>
              <a:rPr lang="en-US" dirty="0"/>
            </a:br>
            <a:endParaRPr lang="en-US" dirty="0"/>
          </a:p>
        </p:txBody>
      </p:sp>
      <p:sp>
        <p:nvSpPr>
          <p:cNvPr id="9" name="TextBox 8">
            <a:extLst>
              <a:ext uri="{FF2B5EF4-FFF2-40B4-BE49-F238E27FC236}">
                <a16:creationId xmlns:a16="http://schemas.microsoft.com/office/drawing/2014/main" id="{D84B0274-960B-447B-B03C-B1D50806D24A}"/>
              </a:ext>
            </a:extLst>
          </p:cNvPr>
          <p:cNvSpPr txBox="1"/>
          <p:nvPr/>
        </p:nvSpPr>
        <p:spPr>
          <a:xfrm>
            <a:off x="712380" y="811433"/>
            <a:ext cx="11121656" cy="135421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hlinkClick r:id="rId2"/>
              </a:rPr>
              <a:t>https://www.texasassessment.gov/</a:t>
            </a: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rPr>
              <a:t>Online released and practice tests should be used to familiarize students with the tools that will be available in a live testing situation. </a:t>
            </a:r>
          </a:p>
        </p:txBody>
      </p:sp>
      <p:pic>
        <p:nvPicPr>
          <p:cNvPr id="11" name="Picture 10">
            <a:extLst>
              <a:ext uri="{FF2B5EF4-FFF2-40B4-BE49-F238E27FC236}">
                <a16:creationId xmlns:a16="http://schemas.microsoft.com/office/drawing/2014/main" id="{17ED52FE-F637-4E8F-A337-0715AAB458B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58240" y="2692208"/>
            <a:ext cx="2630183" cy="2763818"/>
          </a:xfrm>
          <a:prstGeom prst="rect">
            <a:avLst/>
          </a:prstGeom>
        </p:spPr>
      </p:pic>
      <p:sp>
        <p:nvSpPr>
          <p:cNvPr id="5" name="Slide Number Placeholder 4">
            <a:extLst>
              <a:ext uri="{FF2B5EF4-FFF2-40B4-BE49-F238E27FC236}">
                <a16:creationId xmlns:a16="http://schemas.microsoft.com/office/drawing/2014/main" id="{BA4EE874-ECAD-4563-8413-622AF6BABA1B}"/>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5E687EBD-AC93-B36B-2FB8-6057BB908CA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263776" y="2680346"/>
            <a:ext cx="7465886" cy="2782635"/>
          </a:xfrm>
          <a:prstGeom prst="rect">
            <a:avLst/>
          </a:prstGeom>
        </p:spPr>
      </p:pic>
    </p:spTree>
    <p:extLst>
      <p:ext uri="{BB962C8B-B14F-4D97-AF65-F5344CB8AC3E}">
        <p14:creationId xmlns:p14="http://schemas.microsoft.com/office/powerpoint/2010/main" val="264763378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66738-583B-47B5-894C-7046681AF747}"/>
              </a:ext>
            </a:extLst>
          </p:cNvPr>
          <p:cNvSpPr>
            <a:spLocks noGrp="1"/>
          </p:cNvSpPr>
          <p:nvPr>
            <p:ph type="title"/>
          </p:nvPr>
        </p:nvSpPr>
        <p:spPr>
          <a:xfrm>
            <a:off x="712380" y="277920"/>
            <a:ext cx="11121657" cy="751350"/>
          </a:xfrm>
        </p:spPr>
        <p:txBody>
          <a:bodyPr>
            <a:normAutofit/>
          </a:bodyPr>
          <a:lstStyle/>
          <a:p>
            <a:r>
              <a:rPr lang="en-US" sz="4000"/>
              <a:t>STAAR Online Practice</a:t>
            </a:r>
            <a:endParaRPr lang="en-US"/>
          </a:p>
        </p:txBody>
      </p:sp>
      <p:sp>
        <p:nvSpPr>
          <p:cNvPr id="5" name="Content Placeholder 4">
            <a:extLst>
              <a:ext uri="{FF2B5EF4-FFF2-40B4-BE49-F238E27FC236}">
                <a16:creationId xmlns:a16="http://schemas.microsoft.com/office/drawing/2014/main" id="{B939021F-E094-4EF0-A9B2-B85E526E9B5F}"/>
              </a:ext>
            </a:extLst>
          </p:cNvPr>
          <p:cNvSpPr>
            <a:spLocks noGrp="1"/>
          </p:cNvSpPr>
          <p:nvPr>
            <p:ph idx="1"/>
          </p:nvPr>
        </p:nvSpPr>
        <p:spPr>
          <a:xfrm>
            <a:off x="712380" y="1253331"/>
            <a:ext cx="10623762" cy="4351338"/>
          </a:xfrm>
        </p:spPr>
        <p:txBody>
          <a:bodyPr/>
          <a:lstStyle/>
          <a:p>
            <a:r>
              <a:rPr lang="en-US" dirty="0"/>
              <a:t>Both login options shown here:</a:t>
            </a:r>
          </a:p>
        </p:txBody>
      </p:sp>
      <p:pic>
        <p:nvPicPr>
          <p:cNvPr id="6" name="Picture 5" descr="Graphical user interface, application&#10;&#10;Description automatically generated">
            <a:extLst>
              <a:ext uri="{FF2B5EF4-FFF2-40B4-BE49-F238E27FC236}">
                <a16:creationId xmlns:a16="http://schemas.microsoft.com/office/drawing/2014/main" id="{39F2DC79-ACC3-4C02-BA29-7E874FA2D41E}"/>
              </a:ext>
            </a:extLst>
          </p:cNvPr>
          <p:cNvPicPr>
            <a:picLocks noChangeAspect="1"/>
          </p:cNvPicPr>
          <p:nvPr/>
        </p:nvPicPr>
        <p:blipFill>
          <a:blip r:embed="rId2"/>
          <a:stretch>
            <a:fillRect/>
          </a:stretch>
        </p:blipFill>
        <p:spPr>
          <a:xfrm>
            <a:off x="1656217" y="2019040"/>
            <a:ext cx="3898383" cy="3760728"/>
          </a:xfrm>
          <a:prstGeom prst="rect">
            <a:avLst/>
          </a:prstGeom>
          <a:ln w="41275">
            <a:solidFill>
              <a:schemeClr val="accent1"/>
            </a:solidFill>
          </a:ln>
        </p:spPr>
      </p:pic>
      <p:pic>
        <p:nvPicPr>
          <p:cNvPr id="8" name="Picture 7" descr="Graphical user interface, application&#10;&#10;Description automatically generated">
            <a:extLst>
              <a:ext uri="{FF2B5EF4-FFF2-40B4-BE49-F238E27FC236}">
                <a16:creationId xmlns:a16="http://schemas.microsoft.com/office/drawing/2014/main" id="{6477295F-ABE7-439E-B4EC-83002CFC5F52}"/>
              </a:ext>
            </a:extLst>
          </p:cNvPr>
          <p:cNvPicPr>
            <a:picLocks noChangeAspect="1"/>
          </p:cNvPicPr>
          <p:nvPr/>
        </p:nvPicPr>
        <p:blipFill>
          <a:blip r:embed="rId3"/>
          <a:stretch>
            <a:fillRect/>
          </a:stretch>
        </p:blipFill>
        <p:spPr>
          <a:xfrm>
            <a:off x="6498437" y="1603529"/>
            <a:ext cx="4083838" cy="4351338"/>
          </a:xfrm>
          <a:prstGeom prst="rect">
            <a:avLst/>
          </a:prstGeom>
          <a:ln w="34925">
            <a:solidFill>
              <a:schemeClr val="accent1"/>
            </a:solidFill>
          </a:ln>
        </p:spPr>
      </p:pic>
      <p:sp>
        <p:nvSpPr>
          <p:cNvPr id="7" name="Slide Number Placeholder 6">
            <a:extLst>
              <a:ext uri="{FF2B5EF4-FFF2-40B4-BE49-F238E27FC236}">
                <a16:creationId xmlns:a16="http://schemas.microsoft.com/office/drawing/2014/main" id="{7B9ABE8E-A3C2-4194-B4F1-244197818465}"/>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2438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66738-583B-47B5-894C-7046681AF747}"/>
              </a:ext>
            </a:extLst>
          </p:cNvPr>
          <p:cNvSpPr>
            <a:spLocks noGrp="1"/>
          </p:cNvSpPr>
          <p:nvPr>
            <p:ph type="title"/>
          </p:nvPr>
        </p:nvSpPr>
        <p:spPr>
          <a:xfrm>
            <a:off x="712380" y="277920"/>
            <a:ext cx="11121657" cy="751350"/>
          </a:xfrm>
        </p:spPr>
        <p:txBody>
          <a:bodyPr>
            <a:normAutofit fontScale="90000"/>
          </a:bodyPr>
          <a:lstStyle/>
          <a:p>
            <a:br>
              <a:rPr lang="en-US" dirty="0"/>
            </a:br>
            <a:r>
              <a:rPr lang="en-US" sz="4400" dirty="0"/>
              <a:t>STAAR Online Practice</a:t>
            </a:r>
            <a:br>
              <a:rPr lang="en-US" dirty="0"/>
            </a:br>
            <a:endParaRPr lang="en-US" dirty="0"/>
          </a:p>
        </p:txBody>
      </p:sp>
      <p:sp>
        <p:nvSpPr>
          <p:cNvPr id="4" name="Rectangle 3">
            <a:extLst>
              <a:ext uri="{FF2B5EF4-FFF2-40B4-BE49-F238E27FC236}">
                <a16:creationId xmlns:a16="http://schemas.microsoft.com/office/drawing/2014/main" id="{F82F8571-2264-4AD5-A7A1-30CB8E4B51DD}"/>
              </a:ext>
            </a:extLst>
          </p:cNvPr>
          <p:cNvSpPr/>
          <p:nvPr/>
        </p:nvSpPr>
        <p:spPr>
          <a:xfrm>
            <a:off x="827284" y="1333582"/>
            <a:ext cx="5268716" cy="3988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ROLLOVERS</a:t>
            </a:r>
          </a:p>
        </p:txBody>
      </p:sp>
      <p:sp>
        <p:nvSpPr>
          <p:cNvPr id="7" name="Rectangle 6">
            <a:extLst>
              <a:ext uri="{FF2B5EF4-FFF2-40B4-BE49-F238E27FC236}">
                <a16:creationId xmlns:a16="http://schemas.microsoft.com/office/drawing/2014/main" id="{F701E5DC-6E2B-42EB-A4F3-C1C5A008F06B}"/>
              </a:ext>
            </a:extLst>
          </p:cNvPr>
          <p:cNvSpPr/>
          <p:nvPr/>
        </p:nvSpPr>
        <p:spPr>
          <a:xfrm>
            <a:off x="6358989" y="1333582"/>
            <a:ext cx="5261718" cy="3988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POP-UPS</a:t>
            </a:r>
          </a:p>
        </p:txBody>
      </p:sp>
      <p:pic>
        <p:nvPicPr>
          <p:cNvPr id="9" name="Picture 8">
            <a:extLst>
              <a:ext uri="{FF2B5EF4-FFF2-40B4-BE49-F238E27FC236}">
                <a16:creationId xmlns:a16="http://schemas.microsoft.com/office/drawing/2014/main" id="{E46E784C-6C1C-4F4B-AB43-9D9F37336D7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6348315" y="1802671"/>
            <a:ext cx="5261719" cy="3651831"/>
          </a:xfrm>
          <a:prstGeom prst="rect">
            <a:avLst/>
          </a:prstGeom>
          <a:ln w="25400">
            <a:solidFill>
              <a:srgbClr val="0D6CB9"/>
            </a:solidFill>
          </a:ln>
        </p:spPr>
      </p:pic>
      <p:sp>
        <p:nvSpPr>
          <p:cNvPr id="6" name="Slide Number Placeholder 5">
            <a:extLst>
              <a:ext uri="{FF2B5EF4-FFF2-40B4-BE49-F238E27FC236}">
                <a16:creationId xmlns:a16="http://schemas.microsoft.com/office/drawing/2014/main" id="{D8D3B15F-B611-4303-AEEA-15228B7AF6C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pic>
        <p:nvPicPr>
          <p:cNvPr id="1027" name="Picture 6">
            <a:extLst>
              <a:ext uri="{FF2B5EF4-FFF2-40B4-BE49-F238E27FC236}">
                <a16:creationId xmlns:a16="http://schemas.microsoft.com/office/drawing/2014/main" id="{4F90E2CD-5F7B-4818-BB2C-38B8E8365523}"/>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284" y="1911202"/>
            <a:ext cx="5268716" cy="3543300"/>
          </a:xfrm>
          <a:prstGeom prst="rect">
            <a:avLst/>
          </a:prstGeom>
          <a:noFill/>
          <a:ln w="22225">
            <a:solidFill>
              <a:srgbClr val="0D6CB9"/>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54660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66738-583B-47B5-894C-7046681AF747}"/>
              </a:ext>
            </a:extLst>
          </p:cNvPr>
          <p:cNvSpPr>
            <a:spLocks noGrp="1"/>
          </p:cNvSpPr>
          <p:nvPr>
            <p:ph type="title"/>
          </p:nvPr>
        </p:nvSpPr>
        <p:spPr>
          <a:xfrm>
            <a:off x="712380" y="277920"/>
            <a:ext cx="11121657" cy="751350"/>
          </a:xfrm>
        </p:spPr>
        <p:txBody>
          <a:bodyPr>
            <a:normAutofit fontScale="90000"/>
          </a:bodyPr>
          <a:lstStyle/>
          <a:p>
            <a:br>
              <a:rPr lang="en-US" dirty="0"/>
            </a:br>
            <a:r>
              <a:rPr lang="en-US" sz="4400" dirty="0"/>
              <a:t>STAAR Online Practice</a:t>
            </a:r>
            <a:br>
              <a:rPr lang="en-US" dirty="0"/>
            </a:br>
            <a:endParaRPr lang="en-US" dirty="0"/>
          </a:p>
        </p:txBody>
      </p:sp>
      <p:sp>
        <p:nvSpPr>
          <p:cNvPr id="4" name="Rectangle 3">
            <a:extLst>
              <a:ext uri="{FF2B5EF4-FFF2-40B4-BE49-F238E27FC236}">
                <a16:creationId xmlns:a16="http://schemas.microsoft.com/office/drawing/2014/main" id="{F82F8571-2264-4AD5-A7A1-30CB8E4B51DD}"/>
              </a:ext>
            </a:extLst>
          </p:cNvPr>
          <p:cNvSpPr/>
          <p:nvPr/>
        </p:nvSpPr>
        <p:spPr>
          <a:xfrm>
            <a:off x="827284" y="1260764"/>
            <a:ext cx="5268716" cy="3988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PUNNETT SQUARES</a:t>
            </a:r>
          </a:p>
        </p:txBody>
      </p:sp>
      <p:sp>
        <p:nvSpPr>
          <p:cNvPr id="7" name="Rectangle 6">
            <a:extLst>
              <a:ext uri="{FF2B5EF4-FFF2-40B4-BE49-F238E27FC236}">
                <a16:creationId xmlns:a16="http://schemas.microsoft.com/office/drawing/2014/main" id="{F701E5DC-6E2B-42EB-A4F3-C1C5A008F06B}"/>
              </a:ext>
            </a:extLst>
          </p:cNvPr>
          <p:cNvSpPr/>
          <p:nvPr/>
        </p:nvSpPr>
        <p:spPr>
          <a:xfrm>
            <a:off x="6273208" y="1260764"/>
            <a:ext cx="5261718" cy="3988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PELLING ASSISTANCE (spell check &amp; word prediction)</a:t>
            </a:r>
          </a:p>
        </p:txBody>
      </p:sp>
      <p:sp>
        <p:nvSpPr>
          <p:cNvPr id="6" name="Slide Number Placeholder 5">
            <a:extLst>
              <a:ext uri="{FF2B5EF4-FFF2-40B4-BE49-F238E27FC236}">
                <a16:creationId xmlns:a16="http://schemas.microsoft.com/office/drawing/2014/main" id="{EF05566E-F0BE-4B8D-AD35-CCC2B3F5D155}"/>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66A673B7-A796-489B-8E7D-ABA3336E6194}"/>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27284" y="2016086"/>
            <a:ext cx="5240440" cy="3761254"/>
          </a:xfrm>
          <a:prstGeom prst="rect">
            <a:avLst/>
          </a:prstGeom>
          <a:ln w="28575">
            <a:solidFill>
              <a:srgbClr val="0D6CB9"/>
            </a:solidFill>
          </a:ln>
        </p:spPr>
      </p:pic>
      <p:pic>
        <p:nvPicPr>
          <p:cNvPr id="3" name="Picture 2">
            <a:extLst>
              <a:ext uri="{FF2B5EF4-FFF2-40B4-BE49-F238E27FC236}">
                <a16:creationId xmlns:a16="http://schemas.microsoft.com/office/drawing/2014/main" id="{34FC5441-5F3B-0010-11E5-EBE4BC71B777}"/>
              </a:ext>
              <a:ext uri="{C183D7F6-B498-43B3-948B-1728B52AA6E4}">
                <adec:decorative xmlns:adec="http://schemas.microsoft.com/office/drawing/2017/decorative" val="1"/>
              </a:ext>
            </a:extLst>
          </p:cNvPr>
          <p:cNvPicPr>
            <a:picLocks noChangeAspect="1"/>
          </p:cNvPicPr>
          <p:nvPr/>
        </p:nvPicPr>
        <p:blipFill rotWithShape="1">
          <a:blip r:embed="rId3"/>
          <a:srcRect l="41124" t="52134" r="4775" b="8615"/>
          <a:stretch/>
        </p:blipFill>
        <p:spPr>
          <a:xfrm>
            <a:off x="6273208" y="2018972"/>
            <a:ext cx="5261718" cy="1760225"/>
          </a:xfrm>
          <a:prstGeom prst="rect">
            <a:avLst/>
          </a:prstGeom>
          <a:ln w="38100">
            <a:solidFill>
              <a:schemeClr val="accent1"/>
            </a:solidFill>
          </a:ln>
        </p:spPr>
      </p:pic>
      <p:pic>
        <p:nvPicPr>
          <p:cNvPr id="5" name="Picture 4">
            <a:extLst>
              <a:ext uri="{FF2B5EF4-FFF2-40B4-BE49-F238E27FC236}">
                <a16:creationId xmlns:a16="http://schemas.microsoft.com/office/drawing/2014/main" id="{FCEC435C-66B2-F36A-1907-CDD5B0710932}"/>
              </a:ext>
              <a:ext uri="{C183D7F6-B498-43B3-948B-1728B52AA6E4}">
                <adec:decorative xmlns:adec="http://schemas.microsoft.com/office/drawing/2017/decorative" val="1"/>
              </a:ext>
            </a:extLst>
          </p:cNvPr>
          <p:cNvPicPr>
            <a:picLocks noChangeAspect="1"/>
          </p:cNvPicPr>
          <p:nvPr/>
        </p:nvPicPr>
        <p:blipFill rotWithShape="1">
          <a:blip r:embed="rId4"/>
          <a:srcRect l="2708" t="29488" r="3466" b="8762"/>
          <a:stretch/>
        </p:blipFill>
        <p:spPr>
          <a:xfrm>
            <a:off x="6273208" y="3991740"/>
            <a:ext cx="5261718" cy="1785600"/>
          </a:xfrm>
          <a:prstGeom prst="rect">
            <a:avLst/>
          </a:prstGeom>
          <a:ln w="38100">
            <a:solidFill>
              <a:schemeClr val="accent1"/>
            </a:solidFill>
          </a:ln>
        </p:spPr>
      </p:pic>
    </p:spTree>
    <p:extLst>
      <p:ext uri="{BB962C8B-B14F-4D97-AF65-F5344CB8AC3E}">
        <p14:creationId xmlns:p14="http://schemas.microsoft.com/office/powerpoint/2010/main" val="138482893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66738-583B-47B5-894C-7046681AF747}"/>
              </a:ext>
            </a:extLst>
          </p:cNvPr>
          <p:cNvSpPr>
            <a:spLocks noGrp="1"/>
          </p:cNvSpPr>
          <p:nvPr>
            <p:ph type="title"/>
          </p:nvPr>
        </p:nvSpPr>
        <p:spPr>
          <a:xfrm>
            <a:off x="712380" y="277920"/>
            <a:ext cx="11121657" cy="751350"/>
          </a:xfrm>
        </p:spPr>
        <p:txBody>
          <a:bodyPr>
            <a:normAutofit fontScale="90000"/>
          </a:bodyPr>
          <a:lstStyle/>
          <a:p>
            <a:br>
              <a:rPr lang="en-US" dirty="0"/>
            </a:br>
            <a:r>
              <a:rPr lang="en-US" sz="4400" dirty="0"/>
              <a:t>STAAR Online Practice</a:t>
            </a:r>
            <a:br>
              <a:rPr lang="en-US" dirty="0"/>
            </a:br>
            <a:endParaRPr lang="en-US" dirty="0"/>
          </a:p>
        </p:txBody>
      </p:sp>
      <p:sp>
        <p:nvSpPr>
          <p:cNvPr id="7" name="Rectangle 6">
            <a:extLst>
              <a:ext uri="{FF2B5EF4-FFF2-40B4-BE49-F238E27FC236}">
                <a16:creationId xmlns:a16="http://schemas.microsoft.com/office/drawing/2014/main" id="{F701E5DC-6E2B-42EB-A4F3-C1C5A008F06B}"/>
              </a:ext>
            </a:extLst>
          </p:cNvPr>
          <p:cNvSpPr/>
          <p:nvPr/>
        </p:nvSpPr>
        <p:spPr>
          <a:xfrm>
            <a:off x="712380" y="1035811"/>
            <a:ext cx="5261718" cy="3988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PREREADING TEXT</a:t>
            </a:r>
          </a:p>
        </p:txBody>
      </p:sp>
      <p:sp>
        <p:nvSpPr>
          <p:cNvPr id="8" name="Slide Number Placeholder 7">
            <a:extLst>
              <a:ext uri="{FF2B5EF4-FFF2-40B4-BE49-F238E27FC236}">
                <a16:creationId xmlns:a16="http://schemas.microsoft.com/office/drawing/2014/main" id="{C41F4D2A-9795-4CC8-8D19-5DBEB5404FFF}"/>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pic>
        <p:nvPicPr>
          <p:cNvPr id="13" name="Picture 12" descr="Graphical user interface, text, application&#10;&#10;Description automatically generated">
            <a:extLst>
              <a:ext uri="{FF2B5EF4-FFF2-40B4-BE49-F238E27FC236}">
                <a16:creationId xmlns:a16="http://schemas.microsoft.com/office/drawing/2014/main" id="{6EDF68BC-E769-4B05-A267-8D1D013083DB}"/>
              </a:ext>
            </a:extLst>
          </p:cNvPr>
          <p:cNvPicPr>
            <a:picLocks noChangeAspect="1"/>
          </p:cNvPicPr>
          <p:nvPr/>
        </p:nvPicPr>
        <p:blipFill rotWithShape="1">
          <a:blip r:embed="rId2"/>
          <a:srcRect l="-185" t="444" r="-1"/>
          <a:stretch/>
        </p:blipFill>
        <p:spPr>
          <a:xfrm>
            <a:off x="712380" y="1675649"/>
            <a:ext cx="5261718" cy="4092061"/>
          </a:xfrm>
          <a:prstGeom prst="rect">
            <a:avLst/>
          </a:prstGeom>
          <a:ln w="25400">
            <a:solidFill>
              <a:srgbClr val="0D6CB9"/>
            </a:solidFill>
          </a:ln>
        </p:spPr>
      </p:pic>
    </p:spTree>
    <p:extLst>
      <p:ext uri="{BB962C8B-B14F-4D97-AF65-F5344CB8AC3E}">
        <p14:creationId xmlns:p14="http://schemas.microsoft.com/office/powerpoint/2010/main" val="7540532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C1CEA-8A65-9AAE-7337-EF0FBB5168E3}"/>
              </a:ext>
            </a:extLst>
          </p:cNvPr>
          <p:cNvSpPr>
            <a:spLocks noGrp="1"/>
          </p:cNvSpPr>
          <p:nvPr>
            <p:ph type="title"/>
          </p:nvPr>
        </p:nvSpPr>
        <p:spPr/>
        <p:txBody>
          <a:bodyPr/>
          <a:lstStyle/>
          <a:p>
            <a:r>
              <a:rPr lang="en-US" dirty="0"/>
              <a:t>House Bill 1225: Paper by Request</a:t>
            </a:r>
          </a:p>
        </p:txBody>
      </p:sp>
      <p:sp>
        <p:nvSpPr>
          <p:cNvPr id="6" name="Explosion: 8 Points 5" descr="New icon">
            <a:extLst>
              <a:ext uri="{FF2B5EF4-FFF2-40B4-BE49-F238E27FC236}">
                <a16:creationId xmlns:a16="http://schemas.microsoft.com/office/drawing/2014/main" id="{EBCD02D2-6DD6-8F3B-EB1C-E940DF4700E0}"/>
              </a:ext>
            </a:extLst>
          </p:cNvPr>
          <p:cNvSpPr/>
          <p:nvPr/>
        </p:nvSpPr>
        <p:spPr>
          <a:xfrm>
            <a:off x="10244138" y="7557"/>
            <a:ext cx="1874458" cy="1428417"/>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NEW</a:t>
            </a:r>
          </a:p>
        </p:txBody>
      </p:sp>
      <p:sp>
        <p:nvSpPr>
          <p:cNvPr id="3" name="Content Placeholder 2">
            <a:extLst>
              <a:ext uri="{FF2B5EF4-FFF2-40B4-BE49-F238E27FC236}">
                <a16:creationId xmlns:a16="http://schemas.microsoft.com/office/drawing/2014/main" id="{A2C1110F-F865-CCB9-A1E5-7E4AE5DC31CD}"/>
              </a:ext>
            </a:extLst>
          </p:cNvPr>
          <p:cNvSpPr>
            <a:spLocks noGrp="1"/>
          </p:cNvSpPr>
          <p:nvPr>
            <p:ph idx="1"/>
          </p:nvPr>
        </p:nvSpPr>
        <p:spPr>
          <a:xfrm>
            <a:off x="421540" y="1340539"/>
            <a:ext cx="10699142" cy="4351338"/>
          </a:xfrm>
        </p:spPr>
        <p:txBody>
          <a:bodyPr lIns="91440" tIns="45720" rIns="91440" bIns="45720" anchor="t"/>
          <a:lstStyle/>
          <a:p>
            <a:r>
              <a:rPr lang="en-US" sz="2400" dirty="0">
                <a:ea typeface="+mn-lt"/>
                <a:cs typeface="+mn-lt"/>
              </a:rPr>
              <a:t>House Bill (HB) 1225 allows districts to provide paper administrations of STAAR to any student whose parent, guardian, or teacher requests it.</a:t>
            </a:r>
            <a:endParaRPr lang="en-US" sz="2400" dirty="0">
              <a:cs typeface="Calibri"/>
            </a:endParaRPr>
          </a:p>
          <a:p>
            <a:r>
              <a:rPr lang="en-US" sz="2400" dirty="0">
                <a:ea typeface="+mn-lt"/>
                <a:cs typeface="+mn-lt"/>
              </a:rPr>
              <a:t>Students' responses for all paper administrations must be processed in DEI by 11:59 p.m. (CT) on the last day of each testing window.</a:t>
            </a:r>
          </a:p>
          <a:p>
            <a:endParaRPr lang="en-US" sz="2400" dirty="0">
              <a:ea typeface="+mn-lt"/>
              <a:cs typeface="+mn-lt"/>
            </a:endParaRPr>
          </a:p>
          <a:p>
            <a:r>
              <a:rPr lang="en-US" sz="2400" dirty="0">
                <a:ea typeface="+mn-lt"/>
                <a:cs typeface="+mn-lt"/>
              </a:rPr>
              <a:t>The 3% paper by request numbers do not include the students who meet the criteria for a special paper administration.</a:t>
            </a:r>
          </a:p>
          <a:p>
            <a:endParaRPr lang="en-US" sz="2400" dirty="0">
              <a:ea typeface="+mn-lt"/>
              <a:cs typeface="+mn-lt"/>
            </a:endParaRPr>
          </a:p>
          <a:p>
            <a:r>
              <a:rPr lang="en-US" sz="2400" dirty="0">
                <a:ea typeface="+mn-lt"/>
                <a:cs typeface="+mn-lt"/>
              </a:rPr>
              <a:t>There are no changes to the special administration of an online assessment request process from last year.</a:t>
            </a:r>
          </a:p>
          <a:p>
            <a:endParaRPr lang="en-US" sz="2400" dirty="0">
              <a:ea typeface="+mn-lt"/>
              <a:cs typeface="+mn-lt"/>
            </a:endParaRPr>
          </a:p>
          <a:p>
            <a:endParaRPr lang="en-US" sz="2400" dirty="0">
              <a:cs typeface="Calibri"/>
            </a:endParaRPr>
          </a:p>
          <a:p>
            <a:endParaRPr lang="en-US" sz="1800" dirty="0">
              <a:cs typeface="Calibri"/>
            </a:endParaRPr>
          </a:p>
        </p:txBody>
      </p:sp>
      <p:sp>
        <p:nvSpPr>
          <p:cNvPr id="5" name="Slide Number Placeholder 4">
            <a:extLst>
              <a:ext uri="{FF2B5EF4-FFF2-40B4-BE49-F238E27FC236}">
                <a16:creationId xmlns:a16="http://schemas.microsoft.com/office/drawing/2014/main" id="{7335DC23-DF09-4B2F-3BA5-0093B1A86C0F}"/>
              </a:ext>
              <a:ext uri="{C183D7F6-B498-43B3-948B-1728B52AA6E4}">
                <adec:decorative xmlns:adec="http://schemas.microsoft.com/office/drawing/2017/decorative" val="1"/>
              </a:ext>
            </a:extLst>
          </p:cNvPr>
          <p:cNvSpPr>
            <a:spLocks noGrp="1"/>
          </p:cNvSpPr>
          <p:nvPr>
            <p:ph type="sldNum" sz="quarter" idx="4"/>
          </p:nvPr>
        </p:nvSpPr>
        <p:spPr/>
        <p:txBody>
          <a:bodyPr/>
          <a:lstStyle/>
          <a:p>
            <a:fld id="{69C126A4-BD19-47E2-8A0E-0DE1B9D8C925}" type="slidenum">
              <a:rPr lang="en-US" dirty="0" smtClean="0"/>
              <a:pPr/>
              <a:t>8</a:t>
            </a:fld>
            <a:endParaRPr lang="en-US"/>
          </a:p>
        </p:txBody>
      </p:sp>
    </p:spTree>
    <p:extLst>
      <p:ext uri="{BB962C8B-B14F-4D97-AF65-F5344CB8AC3E}">
        <p14:creationId xmlns:p14="http://schemas.microsoft.com/office/powerpoint/2010/main" val="33703191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21ECF9F-621F-4ADA-8F76-7AA24BBA3581}"/>
              </a:ext>
              <a:ext uri="{C183D7F6-B498-43B3-948B-1728B52AA6E4}">
                <adec:decorative xmlns:adec="http://schemas.microsoft.com/office/drawing/2017/decorative" val="1"/>
              </a:ext>
            </a:extLst>
          </p:cNvPr>
          <p:cNvPicPr>
            <a:picLocks noChangeAspect="1"/>
          </p:cNvPicPr>
          <p:nvPr/>
        </p:nvPicPr>
        <p:blipFill>
          <a:blip r:embed="rId2">
            <a:alphaModFix amt="17000"/>
            <a:extLst>
              <a:ext uri="{28A0092B-C50C-407E-A947-70E740481C1C}">
                <a14:useLocalDpi xmlns:a14="http://schemas.microsoft.com/office/drawing/2010/main" val="0"/>
              </a:ext>
            </a:extLst>
          </a:blip>
          <a:stretch>
            <a:fillRect/>
          </a:stretch>
        </p:blipFill>
        <p:spPr>
          <a:xfrm>
            <a:off x="670254" y="904580"/>
            <a:ext cx="10931933" cy="4974726"/>
          </a:xfrm>
          <a:prstGeom prst="rect">
            <a:avLst/>
          </a:prstGeom>
        </p:spPr>
      </p:pic>
      <p:sp>
        <p:nvSpPr>
          <p:cNvPr id="2" name="Title 1">
            <a:extLst>
              <a:ext uri="{FF2B5EF4-FFF2-40B4-BE49-F238E27FC236}">
                <a16:creationId xmlns:a16="http://schemas.microsoft.com/office/drawing/2014/main" id="{28866738-583B-47B5-894C-7046681AF747}"/>
              </a:ext>
            </a:extLst>
          </p:cNvPr>
          <p:cNvSpPr>
            <a:spLocks noGrp="1"/>
          </p:cNvSpPr>
          <p:nvPr>
            <p:ph type="title"/>
          </p:nvPr>
        </p:nvSpPr>
        <p:spPr/>
        <p:txBody>
          <a:bodyPr/>
          <a:lstStyle/>
          <a:p>
            <a:r>
              <a:rPr lang="en-US" dirty="0"/>
              <a:t>Training Reminders</a:t>
            </a:r>
          </a:p>
        </p:txBody>
      </p:sp>
      <p:sp>
        <p:nvSpPr>
          <p:cNvPr id="8" name="TextBox 7">
            <a:extLst>
              <a:ext uri="{FF2B5EF4-FFF2-40B4-BE49-F238E27FC236}">
                <a16:creationId xmlns:a16="http://schemas.microsoft.com/office/drawing/2014/main" id="{79B4C6EB-4FBB-4FD9-BB46-5B70C17CB785}"/>
              </a:ext>
            </a:extLst>
          </p:cNvPr>
          <p:cNvSpPr txBox="1"/>
          <p:nvPr/>
        </p:nvSpPr>
        <p:spPr>
          <a:xfrm>
            <a:off x="615612" y="904580"/>
            <a:ext cx="11041216" cy="38164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Potential Designated Supports Topic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Understanding accessibility policies, including eligibility criteria</a:t>
            </a:r>
          </a:p>
          <a:p>
            <a:pPr marL="342900" marR="0" lvl="0" indent="-34290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Ensuring that testing personnel have a current list of each student’s allowed or approved accessibility features and designated supports</a:t>
            </a:r>
          </a:p>
          <a:p>
            <a:pPr marL="342900" marR="0" lvl="0" indent="-34290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Ensuring that test administrators giving an oral administration are thoroughly trained in oral administration procedures</a:t>
            </a:r>
          </a:p>
          <a:p>
            <a:pPr marL="342900" marR="0" lvl="0" indent="-34290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Collecting materials and preparing designated supports for eligible students</a:t>
            </a:r>
          </a:p>
          <a:p>
            <a:pPr marL="342900" marR="0" lvl="0" indent="-34290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Preparing testing locations for students who need certain designated supports or accessibility features (e.g., oral administration, individual or small-group administration)</a:t>
            </a:r>
          </a:p>
          <a:p>
            <a:pPr marL="342900" marR="0" lvl="0" indent="-342900" algn="l" defTabSz="914400" rtl="0" eaLnBrk="1" fontAlgn="auto" latinLnBrk="0" hangingPunct="1">
              <a:lnSpc>
                <a:spcPct val="100000"/>
              </a:lnSpc>
              <a:spcBef>
                <a:spcPts val="0"/>
              </a:spcBef>
              <a:spcAft>
                <a:spcPts val="0"/>
              </a:spcAft>
              <a:buClr>
                <a:srgbClr val="FF0000"/>
              </a:buClr>
              <a:buSzTx/>
              <a:buFont typeface="Wingdings" panose="05000000000000000000" pitchFamily="2" charset="2"/>
              <a:buChar char="§"/>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Basic and Complex Transcribing policies and how to enter student responses into DEI</a:t>
            </a:r>
          </a:p>
        </p:txBody>
      </p:sp>
      <p:sp>
        <p:nvSpPr>
          <p:cNvPr id="5" name="Slide Number Placeholder 4">
            <a:extLst>
              <a:ext uri="{FF2B5EF4-FFF2-40B4-BE49-F238E27FC236}">
                <a16:creationId xmlns:a16="http://schemas.microsoft.com/office/drawing/2014/main" id="{D2277A04-0E81-47F4-BE2B-D33C6FF5A69F}"/>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9517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BC0A9-0BF2-4B80-BD65-BBFCAF281E47}"/>
              </a:ext>
            </a:extLst>
          </p:cNvPr>
          <p:cNvSpPr>
            <a:spLocks noGrp="1"/>
          </p:cNvSpPr>
          <p:nvPr>
            <p:ph type="title"/>
          </p:nvPr>
        </p:nvSpPr>
        <p:spPr/>
        <p:txBody>
          <a:bodyPr/>
          <a:lstStyle/>
          <a:p>
            <a:r>
              <a:rPr lang="en-US"/>
              <a:t>Accommodation Resources</a:t>
            </a:r>
          </a:p>
        </p:txBody>
      </p:sp>
      <p:sp>
        <p:nvSpPr>
          <p:cNvPr id="3" name="Content Placeholder 2">
            <a:extLst>
              <a:ext uri="{FF2B5EF4-FFF2-40B4-BE49-F238E27FC236}">
                <a16:creationId xmlns:a16="http://schemas.microsoft.com/office/drawing/2014/main" id="{573BA032-7AF8-4182-A65C-0CA60091BEE9}"/>
              </a:ext>
            </a:extLst>
          </p:cNvPr>
          <p:cNvSpPr>
            <a:spLocks noGrp="1"/>
          </p:cNvSpPr>
          <p:nvPr>
            <p:ph idx="1"/>
          </p:nvPr>
        </p:nvSpPr>
        <p:spPr>
          <a:xfrm>
            <a:off x="6050619" y="1067293"/>
            <a:ext cx="5866463" cy="4723413"/>
          </a:xfrm>
        </p:spPr>
        <p:txBody>
          <a:bodyPr lIns="91440" tIns="45720" rIns="91440" bIns="45720" anchor="t"/>
          <a:lstStyle/>
          <a:p>
            <a:pPr marL="228600" marR="0" lvl="0" indent="-22860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General Instructions for Administering State Assessments to Students Who are Deaf or Hard of Hearing</a:t>
            </a:r>
            <a:endParaRPr lang="en-US" sz="1800" dirty="0"/>
          </a:p>
          <a:p>
            <a:r>
              <a:rPr lang="en-US" sz="1800" dirty="0"/>
              <a:t>General Instructions for Administering Braille State Assessments </a:t>
            </a:r>
            <a:endParaRPr lang="en-US" sz="1800" dirty="0">
              <a:cs typeface="Calibri"/>
            </a:endParaRPr>
          </a:p>
          <a:p>
            <a:r>
              <a:rPr lang="en-US" sz="1800" dirty="0"/>
              <a:t>Oral and Signed Administrations: </a:t>
            </a:r>
            <a:r>
              <a:rPr lang="en-US" sz="1800" dirty="0">
                <a:effectLst/>
              </a:rPr>
              <a:t>Guidelines for Reading Aloud Various Types of Test Questions</a:t>
            </a:r>
            <a:endParaRPr lang="en-US" sz="1800" dirty="0"/>
          </a:p>
          <a:p>
            <a:r>
              <a:rPr lang="en-US" sz="1800" dirty="0"/>
              <a:t>Font and Point Size Matrices for STAAR, STAAR Spanish, and TELPAS</a:t>
            </a:r>
            <a:endParaRPr lang="en-US" sz="1800" dirty="0">
              <a:cs typeface="Calibri"/>
            </a:endParaRPr>
          </a:p>
          <a:p>
            <a:r>
              <a:rPr lang="en-US" sz="1800" dirty="0"/>
              <a:t>Parent Resource: Designated Supports Available for STAAR, STAAR Spanish, and TELPAS </a:t>
            </a:r>
            <a:endParaRPr lang="en-US" sz="1800" dirty="0">
              <a:cs typeface="Calibri"/>
            </a:endParaRPr>
          </a:p>
          <a:p>
            <a:pPr marL="0" indent="0">
              <a:buNone/>
            </a:pPr>
            <a:endParaRPr lang="en-US" sz="2000" dirty="0"/>
          </a:p>
        </p:txBody>
      </p:sp>
      <p:sp>
        <p:nvSpPr>
          <p:cNvPr id="8" name="TextBox 7">
            <a:extLst>
              <a:ext uri="{FF2B5EF4-FFF2-40B4-BE49-F238E27FC236}">
                <a16:creationId xmlns:a16="http://schemas.microsoft.com/office/drawing/2014/main" id="{655BA028-1553-4FF9-AD01-D1EA0729AA14}"/>
              </a:ext>
            </a:extLst>
          </p:cNvPr>
          <p:cNvSpPr txBox="1"/>
          <p:nvPr/>
        </p:nvSpPr>
        <p:spPr>
          <a:xfrm>
            <a:off x="621553" y="1128292"/>
            <a:ext cx="5474447" cy="4043158"/>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
                <a:srgbClr val="DA3E26"/>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Allowable Supplemental Aids</a:t>
            </a:r>
          </a:p>
          <a:p>
            <a:pPr marL="285750" marR="0" lvl="0" indent="-285750" algn="l" defTabSz="914400" rtl="0" eaLnBrk="1" fontAlgn="auto" latinLnBrk="0" hangingPunct="1">
              <a:lnSpc>
                <a:spcPct val="100000"/>
              </a:lnSpc>
              <a:spcBef>
                <a:spcPts val="0"/>
              </a:spcBef>
              <a:spcAft>
                <a:spcPts val="0"/>
              </a:spcAft>
              <a:buClr>
                <a:srgbClr val="DA3E26"/>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Technology Guidelines</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0"/>
              </a:spcBef>
              <a:spcAft>
                <a:spcPts val="0"/>
              </a:spcAft>
              <a:buClr>
                <a:srgbClr val="DA3E26"/>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Technology Use Guidelines Presentation Accommodations in Unexpected or Emergency Situations</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0"/>
              </a:spcBef>
              <a:spcAft>
                <a:spcPts val="0"/>
              </a:spcAft>
              <a:buClr>
                <a:srgbClr val="DA3E26"/>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TEA-Approved Accommodations Procedure documents:</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971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Math Scribe</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971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Extra Day</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971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Complex Transcribing STAAR</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9715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Complex Transcribing TELPAS</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228600" marR="0" lvl="0" indent="-22860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mn-cs"/>
              </a:rPr>
              <a:t>General Instructions for Administering Large-Print State Assessments</a:t>
            </a:r>
            <a:endParaRPr kumimoji="0" lang="en-US" sz="1800" b="0" i="0" u="none" strike="noStrike" kern="1200" cap="none" spc="0" normalizeH="0" baseline="0" noProof="0" dirty="0">
              <a:ln>
                <a:noFill/>
              </a:ln>
              <a:solidFill>
                <a:srgbClr val="0D6CB9"/>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0"/>
              </a:spcBef>
              <a:spcAft>
                <a:spcPts val="0"/>
              </a:spcAft>
              <a:buClr>
                <a:srgbClr val="DA3E26"/>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0D6CB9"/>
              </a:solidFill>
              <a:effectLst/>
              <a:uLnTx/>
              <a:uFillTx/>
              <a:latin typeface="Open Sans (Headings)"/>
              <a:ea typeface="+mn-ea"/>
              <a:cs typeface="+mn-cs"/>
            </a:endParaRPr>
          </a:p>
        </p:txBody>
      </p:sp>
      <p:sp>
        <p:nvSpPr>
          <p:cNvPr id="7" name="Slide Number Placeholder 6">
            <a:extLst>
              <a:ext uri="{FF2B5EF4-FFF2-40B4-BE49-F238E27FC236}">
                <a16:creationId xmlns:a16="http://schemas.microsoft.com/office/drawing/2014/main" id="{E01C4725-D0BA-48E7-8A35-05D9503B412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979199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2C741D-D0DE-4318-9791-E89E574065F0}"/>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762C741D-D0DE-4318-9791-E89E574065F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167460-CD6D-4B18-B243-988CBA56F66A}"/>
              </a:ext>
            </a:extLst>
          </p:cNvPr>
          <p:cNvSpPr>
            <a:spLocks noGrp="1"/>
          </p:cNvSpPr>
          <p:nvPr>
            <p:ph type="title"/>
          </p:nvPr>
        </p:nvSpPr>
        <p:spPr/>
        <p:txBody>
          <a:bodyPr vert="horz">
            <a:normAutofit/>
          </a:bodyPr>
          <a:lstStyle/>
          <a:p>
            <a:r>
              <a:rPr lang="en-US" sz="3600" dirty="0"/>
              <a:t>Texas Educator Assessment Committees</a:t>
            </a:r>
            <a:endParaRPr lang="en-US" dirty="0"/>
          </a:p>
        </p:txBody>
      </p:sp>
      <p:sp>
        <p:nvSpPr>
          <p:cNvPr id="7" name="Content Placeholder 6">
            <a:extLst>
              <a:ext uri="{FF2B5EF4-FFF2-40B4-BE49-F238E27FC236}">
                <a16:creationId xmlns:a16="http://schemas.microsoft.com/office/drawing/2014/main" id="{E284D22E-BCE9-4347-B347-DE4830A18461}"/>
              </a:ext>
            </a:extLst>
          </p:cNvPr>
          <p:cNvSpPr>
            <a:spLocks noGrp="1"/>
          </p:cNvSpPr>
          <p:nvPr>
            <p:ph idx="1"/>
          </p:nvPr>
        </p:nvSpPr>
        <p:spPr>
          <a:xfrm>
            <a:off x="349102" y="1357793"/>
            <a:ext cx="8560436" cy="4703038"/>
          </a:xfrm>
        </p:spPr>
        <p:txBody>
          <a:bodyPr>
            <a:normAutofit lnSpcReduction="10000"/>
          </a:bodyPr>
          <a:lstStyle/>
          <a:p>
            <a:pPr marL="0" indent="0">
              <a:spcAft>
                <a:spcPts val="1200"/>
              </a:spcAft>
              <a:buNone/>
            </a:pPr>
            <a:r>
              <a:rPr lang="en-US" sz="2400"/>
              <a:t>Classroom teachers, instructional coaches, campus and district content specialists, and campus administrators can serve in a variety of ways:</a:t>
            </a:r>
          </a:p>
          <a:p>
            <a:pPr marL="346075" indent="-172720">
              <a:buFont typeface="Arial" panose="020B0604020202020204" pitchFamily="34" charset="0"/>
              <a:buChar char="•"/>
            </a:pPr>
            <a:r>
              <a:rPr lang="en-US" sz="2400" b="1"/>
              <a:t>Educator passage review </a:t>
            </a:r>
            <a:r>
              <a:rPr lang="en-US" sz="2400"/>
              <a:t>– each potential passage for the RLA test is reviewed and approved by a committee of Texas educators</a:t>
            </a:r>
            <a:endParaRPr lang="en-US" sz="2400" b="1"/>
          </a:p>
          <a:p>
            <a:pPr marL="346075" indent="-172720">
              <a:buFont typeface="Arial" panose="020B0604020202020204" pitchFamily="34" charset="0"/>
              <a:buChar char="•"/>
            </a:pPr>
            <a:r>
              <a:rPr lang="en-US" sz="2400" b="1"/>
              <a:t>Educator item review </a:t>
            </a:r>
            <a:r>
              <a:rPr lang="en-US" sz="2400"/>
              <a:t>– each potential question for a state test is reviewed and approved by a committee of Texas educators </a:t>
            </a:r>
          </a:p>
          <a:p>
            <a:pPr marL="346075" indent="-172720">
              <a:buFont typeface="Arial" panose="020B0604020202020204" pitchFamily="34" charset="0"/>
              <a:buChar char="•"/>
            </a:pPr>
            <a:r>
              <a:rPr lang="en-US" sz="2400" b="1"/>
              <a:t>Constructed response range-finding</a:t>
            </a:r>
            <a:r>
              <a:rPr lang="en-US" sz="2400"/>
              <a:t> – educators are convened to set the scoring boundaries for student essays based on the rubric</a:t>
            </a:r>
            <a:endParaRPr lang="en-US" sz="2400" b="1"/>
          </a:p>
          <a:p>
            <a:pPr marL="346075" indent="-172720">
              <a:buFont typeface="Arial" panose="020B0604020202020204" pitchFamily="34" charset="0"/>
              <a:buChar char="•"/>
            </a:pPr>
            <a:r>
              <a:rPr lang="en-US" sz="2400" b="1"/>
              <a:t>Subject-area advisory groups</a:t>
            </a:r>
            <a:r>
              <a:rPr lang="en-US" sz="2400"/>
              <a:t> – groups of educators are convened to provide feedback on subject-area-specific topics</a:t>
            </a:r>
          </a:p>
        </p:txBody>
      </p:sp>
      <p:sp>
        <p:nvSpPr>
          <p:cNvPr id="4" name="Slide Number Placeholder 3">
            <a:extLst>
              <a:ext uri="{FF2B5EF4-FFF2-40B4-BE49-F238E27FC236}">
                <a16:creationId xmlns:a16="http://schemas.microsoft.com/office/drawing/2014/main" id="{F3E1B85A-9219-4933-A247-A8EEAAB295A1}"/>
              </a:ext>
              <a:ext uri="{C183D7F6-B498-43B3-948B-1728B52AA6E4}">
                <adec:decorative xmlns:adec="http://schemas.microsoft.com/office/drawing/2017/decorative" val="1"/>
              </a:ext>
            </a:extLst>
          </p:cNvPr>
          <p:cNvSpPr>
            <a:spLocks noGrp="1"/>
          </p:cNvSpPr>
          <p:nvPr>
            <p:ph type="sldNum" sz="quarter" idx="4294967295"/>
          </p:nvPr>
        </p:nvSpPr>
        <p:spPr>
          <a:xfrm>
            <a:off x="9448800" y="652938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8" name="Picture 7" descr="Qr code&#10;&#10;Description automatically generated">
            <a:extLst>
              <a:ext uri="{FF2B5EF4-FFF2-40B4-BE49-F238E27FC236}">
                <a16:creationId xmlns:a16="http://schemas.microsoft.com/office/drawing/2014/main" id="{3813B19C-6051-620A-2406-55136DC79A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09538" y="2008962"/>
            <a:ext cx="2840076" cy="2840076"/>
          </a:xfrm>
          <a:prstGeom prst="rect">
            <a:avLst/>
          </a:prstGeom>
        </p:spPr>
      </p:pic>
    </p:spTree>
    <p:extLst>
      <p:ext uri="{BB962C8B-B14F-4D97-AF65-F5344CB8AC3E}">
        <p14:creationId xmlns:p14="http://schemas.microsoft.com/office/powerpoint/2010/main" val="36308644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5171" y="265496"/>
            <a:ext cx="11121657" cy="751350"/>
          </a:xfrm>
        </p:spPr>
        <p:txBody>
          <a:bodyPr>
            <a:normAutofit/>
          </a:bodyPr>
          <a:lstStyle/>
          <a:p>
            <a:r>
              <a:rPr lang="en-US" dirty="0"/>
              <a:t>TEA Contact Information</a:t>
            </a:r>
          </a:p>
        </p:txBody>
      </p:sp>
      <p:sp>
        <p:nvSpPr>
          <p:cNvPr id="5" name="Rectangle 4">
            <a:extLst>
              <a:ext uri="{FF2B5EF4-FFF2-40B4-BE49-F238E27FC236}">
                <a16:creationId xmlns:a16="http://schemas.microsoft.com/office/drawing/2014/main" id="{2E287137-8211-854C-89EE-26EA06D9E979}"/>
              </a:ext>
            </a:extLst>
          </p:cNvPr>
          <p:cNvSpPr/>
          <p:nvPr/>
        </p:nvSpPr>
        <p:spPr>
          <a:xfrm>
            <a:off x="131975" y="1157282"/>
            <a:ext cx="8495269" cy="4339650"/>
          </a:xfrm>
          <a:prstGeom prst="rect">
            <a:avLst/>
          </a:prstGeom>
        </p:spPr>
        <p:txBody>
          <a:bodyPr wrap="square" lIns="91440" tIns="45720" rIns="91440" bIns="45720" anchor="t">
            <a:spAutoFit/>
          </a:bodyPr>
          <a:lstStyle/>
          <a:p>
            <a:pPr lvl="1">
              <a:buClr>
                <a:schemeClr val="accent2"/>
              </a:buClr>
            </a:pPr>
            <a:r>
              <a:rPr lang="en-US" sz="2400">
                <a:solidFill>
                  <a:schemeClr val="accent1"/>
                </a:solidFill>
                <a:cs typeface="Calibri" panose="020F0502020204030204"/>
              </a:rPr>
              <a:t>For inquiries related to development and </a:t>
            </a:r>
          </a:p>
          <a:p>
            <a:pPr lvl="1"/>
            <a:r>
              <a:rPr lang="en-US" sz="2400">
                <a:solidFill>
                  <a:schemeClr val="accent1"/>
                </a:solidFill>
                <a:cs typeface="Calibri" panose="020F0502020204030204"/>
              </a:rPr>
              <a:t>administration of state assessments, reporting activities,</a:t>
            </a:r>
          </a:p>
          <a:p>
            <a:pPr lvl="1"/>
            <a:r>
              <a:rPr lang="en-US" sz="2400">
                <a:solidFill>
                  <a:schemeClr val="accent1"/>
                </a:solidFill>
                <a:cs typeface="Calibri" panose="020F0502020204030204"/>
              </a:rPr>
              <a:t>or data corrections, please contact: </a:t>
            </a:r>
          </a:p>
          <a:p>
            <a:pPr lvl="1"/>
            <a:endParaRPr lang="en-US" sz="2400">
              <a:solidFill>
                <a:schemeClr val="accent1"/>
              </a:solidFill>
              <a:cs typeface="Calibri" panose="020F0502020204030204"/>
              <a:hlinkClick r:id="" action="ppaction://noaction">
                <a:extLst>
                  <a:ext uri="{A12FA001-AC4F-418D-AE19-62706E023703}">
                    <ahyp:hlinkClr xmlns:ahyp="http://schemas.microsoft.com/office/drawing/2018/hyperlinkcolor" val="tx"/>
                  </a:ext>
                </a:extLst>
              </a:hlinkClick>
            </a:endParaRPr>
          </a:p>
          <a:p>
            <a:pPr marL="800100" lvl="1" indent="-342900">
              <a:buClr>
                <a:schemeClr val="accent2"/>
              </a:buClr>
              <a:buFont typeface="Wingdings" panose="05000000000000000000" pitchFamily="2" charset="2"/>
              <a:buChar char="§"/>
            </a:pPr>
            <a:r>
              <a:rPr lang="en-US" sz="2400">
                <a:solidFill>
                  <a:schemeClr val="accent1"/>
                </a:solidFill>
                <a:cs typeface="Calibri" panose="020F0502020204030204"/>
                <a:hlinkClick r:id="" action="ppaction://noaction">
                  <a:extLst>
                    <a:ext uri="{A12FA001-AC4F-418D-AE19-62706E023703}">
                      <ahyp:hlinkClr xmlns:ahyp="http://schemas.microsoft.com/office/drawing/2018/hyperlinkcolor" val="tx"/>
                    </a:ext>
                  </a:extLst>
                </a:hlinkClick>
              </a:rPr>
              <a:t>Student Assessment Help Desk</a:t>
            </a:r>
            <a:endParaRPr lang="en-US" sz="2400">
              <a:solidFill>
                <a:schemeClr val="accent1"/>
              </a:solidFill>
              <a:cs typeface="Calibri" panose="020F0502020204030204"/>
            </a:endParaRPr>
          </a:p>
          <a:p>
            <a:pPr marL="800100" lvl="1" indent="-342900">
              <a:buClr>
                <a:schemeClr val="accent2"/>
              </a:buClr>
              <a:buFont typeface="Wingdings" panose="05000000000000000000" pitchFamily="2" charset="2"/>
              <a:buChar char="§"/>
            </a:pPr>
            <a:endParaRPr lang="en-US" sz="2400">
              <a:solidFill>
                <a:schemeClr val="accent1"/>
              </a:solidFill>
              <a:cs typeface="Calibri" panose="020F0502020204030204"/>
            </a:endParaRPr>
          </a:p>
          <a:p>
            <a:pPr marL="800100" lvl="1" indent="-342900">
              <a:buClr>
                <a:schemeClr val="accent2"/>
              </a:buClr>
              <a:buFont typeface="Wingdings" panose="05000000000000000000" pitchFamily="2" charset="2"/>
              <a:buChar char="§"/>
            </a:pPr>
            <a:r>
              <a:rPr lang="en-US" sz="2400">
                <a:solidFill>
                  <a:schemeClr val="accent1"/>
                </a:solidFill>
                <a:cs typeface="Calibri" panose="020F0502020204030204"/>
              </a:rPr>
              <a:t>(512) 463-9536</a:t>
            </a:r>
          </a:p>
          <a:p>
            <a:pPr marL="800100" lvl="1" indent="-342900">
              <a:buClr>
                <a:schemeClr val="accent2"/>
              </a:buClr>
              <a:buFont typeface="Wingdings" panose="05000000000000000000" pitchFamily="2" charset="2"/>
              <a:buChar char="§"/>
            </a:pPr>
            <a:endParaRPr lang="en-US" sz="2400">
              <a:solidFill>
                <a:schemeClr val="accent1"/>
              </a:solidFill>
              <a:cs typeface="Calibri" panose="020F0502020204030204"/>
            </a:endParaRPr>
          </a:p>
          <a:p>
            <a:pPr marL="800100" lvl="1" indent="-342900">
              <a:buClr>
                <a:schemeClr val="accent2"/>
              </a:buClr>
              <a:buFont typeface="Wingdings" panose="05000000000000000000" pitchFamily="2" charset="2"/>
              <a:buChar char="§"/>
            </a:pPr>
            <a:r>
              <a:rPr lang="en-US" sz="2400">
                <a:solidFill>
                  <a:schemeClr val="accent1"/>
                </a:solidFill>
                <a:cs typeface="Calibri" panose="020F0502020204030204"/>
                <a:hlinkClick r:id="rId2">
                  <a:extLst>
                    <a:ext uri="{A12FA001-AC4F-418D-AE19-62706E023703}">
                      <ahyp:hlinkClr xmlns:ahyp="http://schemas.microsoft.com/office/drawing/2018/hyperlinkcolor" val="tx"/>
                    </a:ext>
                  </a:extLst>
                </a:hlinkClick>
              </a:rPr>
              <a:t>https://tea.Texas.gov/student.assessment/</a:t>
            </a:r>
            <a:endParaRPr lang="en-US" sz="2000" b="1">
              <a:solidFill>
                <a:schemeClr val="tx2">
                  <a:lumMod val="50000"/>
                </a:schemeClr>
              </a:solidFill>
              <a:latin typeface="Calibri" charset="0"/>
              <a:cs typeface="Calibri" charset="0"/>
            </a:endParaRPr>
          </a:p>
          <a:p>
            <a:pPr lvl="1">
              <a:buClr>
                <a:srgbClr val="E55811"/>
              </a:buClr>
            </a:pPr>
            <a:endParaRPr lang="en-US" sz="2000" b="0" i="0">
              <a:solidFill>
                <a:srgbClr val="000000"/>
              </a:solidFill>
              <a:effectLst/>
              <a:latin typeface="Arial" panose="020B0604020202020204" pitchFamily="34" charset="0"/>
            </a:endParaRPr>
          </a:p>
          <a:p>
            <a:pPr lvl="1"/>
            <a:endParaRPr lang="en-US" sz="2000" b="1">
              <a:solidFill>
                <a:schemeClr val="tx2">
                  <a:lumMod val="50000"/>
                </a:schemeClr>
              </a:solidFill>
              <a:latin typeface="Calibri" charset="0"/>
              <a:cs typeface="Calibri" charset="0"/>
            </a:endParaRPr>
          </a:p>
          <a:p>
            <a:pPr lvl="1"/>
            <a:endParaRPr lang="en-US" sz="2000" b="1">
              <a:solidFill>
                <a:schemeClr val="tx2">
                  <a:lumMod val="50000"/>
                </a:schemeClr>
              </a:solidFill>
              <a:latin typeface="Calibri" charset="0"/>
              <a:cs typeface="Calibri" charset="0"/>
            </a:endParaRPr>
          </a:p>
        </p:txBody>
      </p:sp>
      <p:pic>
        <p:nvPicPr>
          <p:cNvPr id="10" name="Picture 9">
            <a:extLst>
              <a:ext uri="{FF2B5EF4-FFF2-40B4-BE49-F238E27FC236}">
                <a16:creationId xmlns:a16="http://schemas.microsoft.com/office/drawing/2014/main" id="{5E08B95D-573C-9045-A5BF-6861CCD3EF8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197921" y="1066800"/>
            <a:ext cx="3524251" cy="2819400"/>
          </a:xfrm>
          <a:prstGeom prst="rect">
            <a:avLst/>
          </a:prstGeom>
          <a:effectLst>
            <a:reflection blurRad="6350" stA="50000" endA="300" endPos="55500" dist="50800" dir="5400000" sy="-100000" algn="bl" rotWithShape="0"/>
          </a:effectLst>
        </p:spPr>
      </p:pic>
      <p:sp>
        <p:nvSpPr>
          <p:cNvPr id="4" name="Slide Number Placeholder 3">
            <a:extLst>
              <a:ext uri="{FF2B5EF4-FFF2-40B4-BE49-F238E27FC236}">
                <a16:creationId xmlns:a16="http://schemas.microsoft.com/office/drawing/2014/main" id="{1414D018-DF93-4703-B744-5DAB5F1C97D2}"/>
              </a:ext>
              <a:ext uri="{C183D7F6-B498-43B3-948B-1728B52AA6E4}">
                <adec:decorative xmlns:adec="http://schemas.microsoft.com/office/drawing/2017/decorative" val="1"/>
              </a:ext>
            </a:extLst>
          </p:cNvPr>
          <p:cNvSpPr>
            <a:spLocks noGrp="1"/>
          </p:cNvSpPr>
          <p:nvPr>
            <p:ph type="sldNum" sz="quarter" idx="4"/>
          </p:nvPr>
        </p:nvSpPr>
        <p:spPr/>
        <p:txBody>
          <a:bodyPr/>
          <a:lstStyle/>
          <a:p>
            <a:fld id="{69C126A4-BD19-47E2-8A0E-0DE1B9D8C925}" type="slidenum">
              <a:rPr lang="en-US" smtClean="0"/>
              <a:pPr/>
              <a:t>83</a:t>
            </a:fld>
            <a:endParaRPr lang="en-US"/>
          </a:p>
        </p:txBody>
      </p:sp>
    </p:spTree>
    <p:extLst>
      <p:ext uri="{BB962C8B-B14F-4D97-AF65-F5344CB8AC3E}">
        <p14:creationId xmlns:p14="http://schemas.microsoft.com/office/powerpoint/2010/main" val="1812651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DB26E7-F544-4A5C-891B-2AA8C3FFE03B}"/>
              </a:ext>
            </a:extLst>
          </p:cNvPr>
          <p:cNvSpPr>
            <a:spLocks noGrp="1"/>
          </p:cNvSpPr>
          <p:nvPr>
            <p:ph type="title"/>
          </p:nvPr>
        </p:nvSpPr>
        <p:spPr>
          <a:noFill/>
          <a:ln>
            <a:noFill/>
          </a:ln>
        </p:spPr>
        <p:txBody>
          <a:bodyPr/>
          <a:lstStyle/>
          <a:p>
            <a:r>
              <a:rPr lang="en-US" dirty="0"/>
              <a:t>2023–2024 Accommodation </a:t>
            </a:r>
            <a:r>
              <a:rPr lang="en-US" dirty="0">
                <a:solidFill>
                  <a:srgbClr val="F16038"/>
                </a:solidFill>
              </a:rPr>
              <a:t>Update</a:t>
            </a:r>
          </a:p>
        </p:txBody>
      </p:sp>
      <p:sp>
        <p:nvSpPr>
          <p:cNvPr id="11" name="Explosion: 8 Points 5" descr="New icon">
            <a:extLst>
              <a:ext uri="{FF2B5EF4-FFF2-40B4-BE49-F238E27FC236}">
                <a16:creationId xmlns:a16="http://schemas.microsoft.com/office/drawing/2014/main" id="{B3C52DD8-B2CA-4B46-A32C-A9A4453E45EB}"/>
              </a:ext>
            </a:extLst>
          </p:cNvPr>
          <p:cNvSpPr/>
          <p:nvPr/>
        </p:nvSpPr>
        <p:spPr>
          <a:xfrm>
            <a:off x="9863820" y="252474"/>
            <a:ext cx="1970217" cy="2016586"/>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Calibri" panose="020F0502020204030204"/>
                <a:ea typeface="+mn-ea"/>
                <a:cs typeface="+mn-cs"/>
              </a:rPr>
              <a:t>NEW</a:t>
            </a:r>
          </a:p>
        </p:txBody>
      </p:sp>
      <p:sp>
        <p:nvSpPr>
          <p:cNvPr id="4" name="TextBox 3">
            <a:extLst>
              <a:ext uri="{FF2B5EF4-FFF2-40B4-BE49-F238E27FC236}">
                <a16:creationId xmlns:a16="http://schemas.microsoft.com/office/drawing/2014/main" id="{32A80C9C-EF23-474A-A1E2-007B59CEF31B}"/>
              </a:ext>
            </a:extLst>
          </p:cNvPr>
          <p:cNvSpPr txBox="1"/>
          <p:nvPr/>
        </p:nvSpPr>
        <p:spPr>
          <a:xfrm>
            <a:off x="373620" y="1264740"/>
            <a:ext cx="10317790" cy="3647152"/>
          </a:xfrm>
          <a:prstGeom prst="rect">
            <a:avLst/>
          </a:prstGeom>
          <a:noFill/>
        </p:spPr>
        <p:txBody>
          <a:bodyPr wrap="square" lIns="91440" tIns="45720" rIns="91440" bIns="45720" rtlCol="0" anchor="t">
            <a:spAutoFit/>
          </a:bodyPr>
          <a:lstStyle/>
          <a:p>
            <a:pPr marL="457200" marR="0" lvl="1" indent="0" algn="l" defTabSz="914400" rtl="0" eaLnBrk="1" fontAlgn="auto" latinLnBrk="0" hangingPunct="1">
              <a:lnSpc>
                <a:spcPct val="100000"/>
              </a:lnSpc>
              <a:spcBef>
                <a:spcPts val="0"/>
              </a:spcBef>
              <a:spcAft>
                <a:spcPts val="0"/>
              </a:spcAft>
              <a:buClr>
                <a:srgbClr val="FF8134"/>
              </a:buClr>
              <a:buSzTx/>
              <a:buFontTx/>
              <a:buNone/>
              <a:tabLst/>
              <a:defRPr/>
            </a:pPr>
            <a:r>
              <a:rPr kumimoji="0" lang="en-US" sz="2600" b="0" i="0" u="none" strike="noStrike" kern="1200" cap="none" spc="0" normalizeH="0" baseline="0" noProof="0" dirty="0">
                <a:ln>
                  <a:noFill/>
                </a:ln>
                <a:solidFill>
                  <a:srgbClr val="0D6CB9"/>
                </a:solidFill>
                <a:effectLst/>
                <a:uLnTx/>
                <a:uFillTx/>
                <a:latin typeface="Calibri"/>
                <a:ea typeface="+mn-ea"/>
                <a:cs typeface="Calibri"/>
              </a:rPr>
              <a:t>	</a:t>
            </a:r>
          </a:p>
          <a:p>
            <a:pPr marL="914400" marR="0" lvl="1" indent="-4572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800" b="0" i="0" u="none" strike="noStrike" kern="1200" cap="none" spc="0" normalizeH="0" baseline="0" noProof="0" dirty="0">
                <a:ln>
                  <a:noFill/>
                </a:ln>
                <a:solidFill>
                  <a:srgbClr val="0D6CB9"/>
                </a:solidFill>
                <a:effectLst/>
                <a:uLnTx/>
                <a:uFillTx/>
                <a:latin typeface="Calibri"/>
                <a:ea typeface="+mn-ea"/>
                <a:cs typeface="Calibri"/>
              </a:rPr>
              <a:t>Starting this spring, blank graphic organizers (paper versions only) will be allowed for both online TELPAS tests (listening and speaking and reading and writing). </a:t>
            </a:r>
          </a:p>
          <a:p>
            <a:pPr marR="0" lvl="1" algn="l" defTabSz="914400" rtl="0" eaLnBrk="1" fontAlgn="auto" latinLnBrk="0" hangingPunct="1">
              <a:lnSpc>
                <a:spcPct val="100000"/>
              </a:lnSpc>
              <a:spcBef>
                <a:spcPts val="0"/>
              </a:spcBef>
              <a:spcAft>
                <a:spcPts val="0"/>
              </a:spcAft>
              <a:buClr>
                <a:srgbClr val="F16038"/>
              </a:buClr>
              <a:buSzTx/>
              <a:tabLst/>
              <a:defRPr/>
            </a:pPr>
            <a:endParaRPr kumimoji="0" lang="en-US" sz="2800" b="0" i="0" u="none" strike="noStrike" kern="1200" cap="none" spc="0" normalizeH="0" baseline="0" noProof="0" dirty="0">
              <a:ln>
                <a:noFill/>
              </a:ln>
              <a:solidFill>
                <a:srgbClr val="0D6CB9"/>
              </a:solidFill>
              <a:effectLst/>
              <a:uLnTx/>
              <a:uFillTx/>
              <a:latin typeface="Calibri"/>
              <a:ea typeface="+mn-ea"/>
              <a:cs typeface="Calibri"/>
            </a:endParaRPr>
          </a:p>
          <a:p>
            <a:pPr marL="914400" marR="0" lvl="1" indent="-45720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Char char="§"/>
              <a:tabLst/>
              <a:defRPr/>
            </a:pPr>
            <a:r>
              <a:rPr kumimoji="0" lang="en-US" sz="2800" b="0" i="0" u="none" strike="noStrike" kern="1200" cap="none" spc="0" normalizeH="0" baseline="0" noProof="0" dirty="0">
                <a:ln>
                  <a:noFill/>
                </a:ln>
                <a:solidFill>
                  <a:srgbClr val="0D6CB9"/>
                </a:solidFill>
                <a:effectLst/>
                <a:uLnTx/>
                <a:uFillTx/>
                <a:latin typeface="Calibri"/>
                <a:ea typeface="+mn-ea"/>
                <a:cs typeface="Calibri"/>
              </a:rPr>
              <a:t>A student will have to meet the eligibility criteria and the appropriate committee must make the decision, as noted on the Supplemental Aids policy document. </a:t>
            </a:r>
          </a:p>
          <a:p>
            <a:pPr marL="800100" marR="0" lvl="1" indent="-342900" algn="l" defTabSz="914400" rtl="0" eaLnBrk="1" fontAlgn="auto" latinLnBrk="0" hangingPunct="1">
              <a:lnSpc>
                <a:spcPct val="100000"/>
              </a:lnSpc>
              <a:spcBef>
                <a:spcPts val="0"/>
              </a:spcBef>
              <a:spcAft>
                <a:spcPts val="0"/>
              </a:spcAft>
              <a:buClr>
                <a:srgbClr val="FF8134"/>
              </a:buClr>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8" name="Slide Number Placeholder 7">
            <a:extLst>
              <a:ext uri="{FF2B5EF4-FFF2-40B4-BE49-F238E27FC236}">
                <a16:creationId xmlns:a16="http://schemas.microsoft.com/office/drawing/2014/main" id="{0F82A58B-E03E-4908-94AF-38D8852E8714}"/>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dirty="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80253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051</TotalTime>
  <Words>7831</Words>
  <Application>Microsoft Office PowerPoint</Application>
  <PresentationFormat>Widescreen</PresentationFormat>
  <Paragraphs>900</Paragraphs>
  <Slides>83</Slides>
  <Notes>63</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98" baseType="lpstr">
      <vt:lpstr>-apple-system</vt:lpstr>
      <vt:lpstr>Arial</vt:lpstr>
      <vt:lpstr>Calibri</vt:lpstr>
      <vt:lpstr>Calibri Light</vt:lpstr>
      <vt:lpstr>Courier New</vt:lpstr>
      <vt:lpstr>Open Sans</vt:lpstr>
      <vt:lpstr>Open Sans (Headings)</vt:lpstr>
      <vt:lpstr>Roboto Slab Light</vt:lpstr>
      <vt:lpstr>Roboto Slab Medium</vt:lpstr>
      <vt:lpstr>Symbol</vt:lpstr>
      <vt:lpstr>System Font Regular</vt:lpstr>
      <vt:lpstr>Times New Roman</vt:lpstr>
      <vt:lpstr>Wingdings</vt:lpstr>
      <vt:lpstr>2_Office Theme</vt:lpstr>
      <vt:lpstr>think-cell Slide</vt:lpstr>
      <vt:lpstr>2023-2024 Accessibility TASI</vt:lpstr>
      <vt:lpstr>Accommodation Policy</vt:lpstr>
      <vt:lpstr> 2023-2024 Accommodations Agenda</vt:lpstr>
      <vt:lpstr>2023–2024 Accommodation Updates</vt:lpstr>
      <vt:lpstr>2023–2024 Accommodation Update</vt:lpstr>
      <vt:lpstr>2023–2024 Accommodation Update</vt:lpstr>
      <vt:lpstr>2023–2024 Accommodation Update</vt:lpstr>
      <vt:lpstr>House Bill 1225: Paper by Request</vt:lpstr>
      <vt:lpstr>2023–2024 Accommodation Update</vt:lpstr>
      <vt:lpstr>2023–2024 Accommodation Reminder</vt:lpstr>
      <vt:lpstr>2023–2024 Accommodation Reminder</vt:lpstr>
      <vt:lpstr>TDS Enhancements—Color Choice Update</vt:lpstr>
      <vt:lpstr>TDS Enhancements—Text-to-Speech: Update</vt:lpstr>
      <vt:lpstr>What Are “Accommodations” in Assessment? </vt:lpstr>
      <vt:lpstr>Who Do Accommodation Considerations Help?</vt:lpstr>
      <vt:lpstr>What Do “Accommodations” Look Like in Assessments? </vt:lpstr>
      <vt:lpstr>Student Eligibility Criteria At-A-Glance </vt:lpstr>
      <vt:lpstr>Available Accommodations by Academic Committee</vt:lpstr>
      <vt:lpstr>2023–2024 Accommodations</vt:lpstr>
      <vt:lpstr>2023–2024 Accommodations</vt:lpstr>
      <vt:lpstr>Requirements for Local Decision-Making Authorities</vt:lpstr>
      <vt:lpstr>Requirements for Local Decision-Making Authorities</vt:lpstr>
      <vt:lpstr>Requirements for Local Decision-Making Authorities</vt:lpstr>
      <vt:lpstr>Requirements for Local Decision-Making Authorities</vt:lpstr>
      <vt:lpstr>The Categories of Accommodations</vt:lpstr>
      <vt:lpstr>Accessibility Features</vt:lpstr>
      <vt:lpstr> Accessibility Features</vt:lpstr>
      <vt:lpstr>Accessibility Features</vt:lpstr>
      <vt:lpstr>Accessibility Features</vt:lpstr>
      <vt:lpstr>Accessibility Features</vt:lpstr>
      <vt:lpstr>Accessibility Features</vt:lpstr>
      <vt:lpstr>Accessibility Features</vt:lpstr>
      <vt:lpstr>Locally- Approved Designated Supports</vt:lpstr>
      <vt:lpstr>Designated Supports</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Designated Supports (Locally Approved)</vt:lpstr>
      <vt:lpstr>Requirements for Local Decision-Making Authorities</vt:lpstr>
      <vt:lpstr>Designated Supports Requiring TEA Approval</vt:lpstr>
      <vt:lpstr>Designated Supports Requiring TEA Approval</vt:lpstr>
      <vt:lpstr>Designated Supports Requiring TEA Approval</vt:lpstr>
      <vt:lpstr>Designated Supports Requiring TEA Approval</vt:lpstr>
      <vt:lpstr>Designated Supports Requiring TEA Approval</vt:lpstr>
      <vt:lpstr>Accommodation Request Process</vt:lpstr>
      <vt:lpstr>Accommodation Request Process</vt:lpstr>
      <vt:lpstr>Accommodation Request Process</vt:lpstr>
      <vt:lpstr>Accommodations in Unexpected or Emergency Situations</vt:lpstr>
      <vt:lpstr>Online Practice and Released Tests </vt:lpstr>
      <vt:lpstr>STAAR Online Practice</vt:lpstr>
      <vt:lpstr> STAAR Online Practice </vt:lpstr>
      <vt:lpstr> STAAR Online Practice </vt:lpstr>
      <vt:lpstr> STAAR Online Practice </vt:lpstr>
      <vt:lpstr>Training Reminders</vt:lpstr>
      <vt:lpstr>Accommodation Resources</vt:lpstr>
      <vt:lpstr>Texas Educator Assessment Committees</vt:lpstr>
      <vt:lpstr>TEA Contact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iffin, Rachel</dc:creator>
  <cp:lastModifiedBy>Griffin, Rachel</cp:lastModifiedBy>
  <cp:revision>1</cp:revision>
  <dcterms:created xsi:type="dcterms:W3CDTF">2023-10-04T06:01:19Z</dcterms:created>
  <dcterms:modified xsi:type="dcterms:W3CDTF">2023-10-18T21:44:50Z</dcterms:modified>
</cp:coreProperties>
</file>